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8.xml" ContentType="application/vnd.openxmlformats-officedocument.presentationml.tags+xml"/>
  <Override PartName="/ppt/notesSlides/notesSlide1.xml" ContentType="application/vnd.openxmlformats-officedocument.presentationml.notesSlid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charts/chart1.xml" ContentType="application/vnd.openxmlformats-officedocument.drawingml.chart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15" r:id="rId1"/>
  </p:sldMasterIdLst>
  <p:notesMasterIdLst>
    <p:notesMasterId r:id="rId17"/>
  </p:notesMasterIdLst>
  <p:handoutMasterIdLst>
    <p:handoutMasterId r:id="rId18"/>
  </p:handoutMasterIdLst>
  <p:sldIdLst>
    <p:sldId id="256" r:id="rId2"/>
    <p:sldId id="261" r:id="rId3"/>
    <p:sldId id="262" r:id="rId4"/>
    <p:sldId id="266" r:id="rId5"/>
    <p:sldId id="264" r:id="rId6"/>
    <p:sldId id="267" r:id="rId7"/>
    <p:sldId id="268" r:id="rId8"/>
    <p:sldId id="269" r:id="rId9"/>
    <p:sldId id="270" r:id="rId10"/>
    <p:sldId id="271" r:id="rId11"/>
    <p:sldId id="275" r:id="rId12"/>
    <p:sldId id="281" r:id="rId13"/>
    <p:sldId id="280" r:id="rId14"/>
    <p:sldId id="277" r:id="rId15"/>
    <p:sldId id="279" r:id="rId16"/>
  </p:sldIdLst>
  <p:sldSz cx="7561263" cy="5329238"/>
  <p:notesSz cx="6797675" cy="9982200"/>
  <p:custDataLst>
    <p:tags r:id="rId19"/>
  </p:custDataLst>
  <p:defaultTextStyle>
    <a:defPPr>
      <a:defRPr lang="de-DE"/>
    </a:defPPr>
    <a:lvl1pPr algn="l" rtl="0" fontAlgn="base">
      <a:spcBef>
        <a:spcPct val="0"/>
      </a:spcBef>
      <a:spcAft>
        <a:spcPct val="0"/>
      </a:spcAft>
      <a:defRPr sz="1100" kern="1200">
        <a:solidFill>
          <a:schemeClr val="tx1"/>
        </a:solidFill>
        <a:latin typeface="Arial" charset="0"/>
        <a:ea typeface="+mn-ea"/>
        <a:cs typeface="+mn-cs"/>
      </a:defRPr>
    </a:lvl1pPr>
    <a:lvl2pPr marL="368275" algn="l" rtl="0" fontAlgn="base">
      <a:spcBef>
        <a:spcPct val="0"/>
      </a:spcBef>
      <a:spcAft>
        <a:spcPct val="0"/>
      </a:spcAft>
      <a:defRPr sz="1100" kern="1200">
        <a:solidFill>
          <a:schemeClr val="tx1"/>
        </a:solidFill>
        <a:latin typeface="Arial" charset="0"/>
        <a:ea typeface="+mn-ea"/>
        <a:cs typeface="+mn-cs"/>
      </a:defRPr>
    </a:lvl2pPr>
    <a:lvl3pPr marL="736549" algn="l" rtl="0" fontAlgn="base">
      <a:spcBef>
        <a:spcPct val="0"/>
      </a:spcBef>
      <a:spcAft>
        <a:spcPct val="0"/>
      </a:spcAft>
      <a:defRPr sz="1100" kern="1200">
        <a:solidFill>
          <a:schemeClr val="tx1"/>
        </a:solidFill>
        <a:latin typeface="Arial" charset="0"/>
        <a:ea typeface="+mn-ea"/>
        <a:cs typeface="+mn-cs"/>
      </a:defRPr>
    </a:lvl3pPr>
    <a:lvl4pPr marL="1104824" algn="l" rtl="0" fontAlgn="base">
      <a:spcBef>
        <a:spcPct val="0"/>
      </a:spcBef>
      <a:spcAft>
        <a:spcPct val="0"/>
      </a:spcAft>
      <a:defRPr sz="1100" kern="1200">
        <a:solidFill>
          <a:schemeClr val="tx1"/>
        </a:solidFill>
        <a:latin typeface="Arial" charset="0"/>
        <a:ea typeface="+mn-ea"/>
        <a:cs typeface="+mn-cs"/>
      </a:defRPr>
    </a:lvl4pPr>
    <a:lvl5pPr marL="1473098" algn="l" rtl="0" fontAlgn="base">
      <a:spcBef>
        <a:spcPct val="0"/>
      </a:spcBef>
      <a:spcAft>
        <a:spcPct val="0"/>
      </a:spcAft>
      <a:defRPr sz="1100" kern="1200">
        <a:solidFill>
          <a:schemeClr val="tx1"/>
        </a:solidFill>
        <a:latin typeface="Arial" charset="0"/>
        <a:ea typeface="+mn-ea"/>
        <a:cs typeface="+mn-cs"/>
      </a:defRPr>
    </a:lvl5pPr>
    <a:lvl6pPr marL="1841373" algn="l" defTabSz="736549" rtl="0" eaLnBrk="1" latinLnBrk="0" hangingPunct="1">
      <a:defRPr sz="1100" kern="1200">
        <a:solidFill>
          <a:schemeClr val="tx1"/>
        </a:solidFill>
        <a:latin typeface="Arial" charset="0"/>
        <a:ea typeface="+mn-ea"/>
        <a:cs typeface="+mn-cs"/>
      </a:defRPr>
    </a:lvl6pPr>
    <a:lvl7pPr marL="2209648" algn="l" defTabSz="736549" rtl="0" eaLnBrk="1" latinLnBrk="0" hangingPunct="1">
      <a:defRPr sz="1100" kern="1200">
        <a:solidFill>
          <a:schemeClr val="tx1"/>
        </a:solidFill>
        <a:latin typeface="Arial" charset="0"/>
        <a:ea typeface="+mn-ea"/>
        <a:cs typeface="+mn-cs"/>
      </a:defRPr>
    </a:lvl7pPr>
    <a:lvl8pPr marL="2577922" algn="l" defTabSz="736549" rtl="0" eaLnBrk="1" latinLnBrk="0" hangingPunct="1">
      <a:defRPr sz="1100" kern="1200">
        <a:solidFill>
          <a:schemeClr val="tx1"/>
        </a:solidFill>
        <a:latin typeface="Arial" charset="0"/>
        <a:ea typeface="+mn-ea"/>
        <a:cs typeface="+mn-cs"/>
      </a:defRPr>
    </a:lvl8pPr>
    <a:lvl9pPr marL="2946197" algn="l" defTabSz="736549" rtl="0" eaLnBrk="1" latinLnBrk="0" hangingPunct="1">
      <a:defRPr sz="11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tandardabschnitt" id="{660202CD-DDE9-4953-B0B0-2F976D8B9F43}">
          <p14:sldIdLst>
            <p14:sldId id="256"/>
            <p14:sldId id="261"/>
            <p14:sldId id="262"/>
            <p14:sldId id="266"/>
            <p14:sldId id="264"/>
            <p14:sldId id="267"/>
            <p14:sldId id="268"/>
            <p14:sldId id="269"/>
          </p14:sldIdLst>
        </p14:section>
        <p14:section name="Abschnitt ohne Titel" id="{4C7D4957-512B-4564-9EE8-7E574BAB15DF}">
          <p14:sldIdLst>
            <p14:sldId id="270"/>
            <p14:sldId id="271"/>
            <p14:sldId id="275"/>
            <p14:sldId id="281"/>
            <p14:sldId id="280"/>
            <p14:sldId id="277"/>
            <p14:sldId id="279"/>
          </p14:sldIdLst>
        </p14:section>
      </p14:sectionLst>
    </p:ext>
    <p:ext uri="{EFAFB233-063F-42B5-8137-9DF3F51BA10A}">
      <p15:sldGuideLst xmlns:p15="http://schemas.microsoft.com/office/powerpoint/2012/main" xmlns="">
        <p15:guide id="1" orient="horz" pos="635">
          <p15:clr>
            <a:srgbClr val="A4A3A4"/>
          </p15:clr>
        </p15:guide>
        <p15:guide id="2" orient="horz" pos="3084">
          <p15:clr>
            <a:srgbClr val="A4A3A4"/>
          </p15:clr>
        </p15:guide>
        <p15:guide id="3" pos="113">
          <p15:clr>
            <a:srgbClr val="A4A3A4"/>
          </p15:clr>
        </p15:guide>
        <p15:guide id="4" pos="3515">
          <p15:clr>
            <a:srgbClr val="A4A3A4"/>
          </p15:clr>
        </p15:guide>
        <p15:guide id="5" pos="3696">
          <p15:clr>
            <a:srgbClr val="A4A3A4"/>
          </p15:clr>
        </p15:guide>
        <p15:guide id="6" pos="4649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>
        <p15:guide id="1" orient="horz" pos="3193">
          <p15:clr>
            <a:srgbClr val="A4A3A4"/>
          </p15:clr>
        </p15:guide>
        <p15:guide id="2" pos="343">
          <p15:clr>
            <a:srgbClr val="A4A3A4"/>
          </p15:clr>
        </p15:guide>
        <p15:guide id="3" pos="3939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37C800"/>
    <a:srgbClr val="649B00"/>
    <a:srgbClr val="00FF00"/>
    <a:srgbClr val="2AD500"/>
    <a:srgbClr val="D52A00"/>
    <a:srgbClr val="55AA00"/>
    <a:srgbClr val="7F8000"/>
    <a:srgbClr val="AA5506"/>
    <a:srgbClr val="D42B00"/>
    <a:srgbClr val="C837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7D95DDBC-5C31-40A9-B56D-BDF15E579DC0}">
  <a:tblStyle styleId="{7D95DDBC-5C31-40A9-B56D-BDF15E579DC0}" styleName="BERENBERG">
    <a:wholeTbl>
      <a:tcTxStyle>
        <a:fontRef idx="minor">
          <a:prstClr val="black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6350" cmpd="sng">
              <a:solidFill>
                <a:schemeClr val="accent6"/>
              </a:solidFill>
              <a:prstDash val="dash"/>
            </a:ln>
          </a:top>
          <a:bottom>
            <a:ln w="6350" cmpd="sng">
              <a:solidFill>
                <a:schemeClr val="accent6"/>
              </a:solidFill>
              <a:prstDash val="dash"/>
            </a:ln>
          </a:bottom>
          <a:insideH>
            <a:ln w="6350" cmpd="sng">
              <a:solidFill>
                <a:schemeClr val="accent6"/>
              </a:solidFill>
              <a:prstDash val="dash"/>
            </a:ln>
          </a:insideH>
          <a:insideV>
            <a:ln>
              <a:noFill/>
            </a:ln>
          </a:insideV>
        </a:tcBdr>
        <a:fill>
          <a:noFill/>
        </a:fill>
      </a:tcStyle>
    </a:wholeTbl>
    <a:lastCol>
      <a:tcTxStyle>
        <a:fontRef idx="minor">
          <a:prstClr val="black"/>
        </a:fontRef>
        <a:schemeClr val="dk1"/>
      </a:tcTxStyle>
      <a:tcStyle>
        <a:tcBdr/>
        <a:fill>
          <a:solidFill>
            <a:srgbClr val="EDECEB"/>
          </a:solidFill>
        </a:fill>
      </a:tcStyle>
    </a:lastCol>
    <a:firstCol>
      <a:tcTxStyle>
        <a:fontRef idx="minor">
          <a:prstClr val="black"/>
        </a:fontRef>
        <a:schemeClr val="dk1"/>
      </a:tcTxStyle>
      <a:tcStyle>
        <a:tcBdr/>
        <a:fill>
          <a:solidFill>
            <a:srgbClr val="EDECEB"/>
          </a:solidFill>
        </a:fill>
      </a:tcStyle>
    </a:firstCol>
    <a:lastRow>
      <a:tcTxStyle b="on">
        <a:fontRef idx="minor">
          <a:prstClr val="black"/>
        </a:fontRef>
        <a:schemeClr val="dk2"/>
      </a:tcTxStyle>
      <a:tcStyle>
        <a:tcBdr>
          <a:top>
            <a:ln w="6350" cmpd="sng">
              <a:solidFill>
                <a:schemeClr val="dk2"/>
              </a:solidFill>
            </a:ln>
          </a:top>
          <a:bottom>
            <a:ln w="6350" cmpd="sng">
              <a:solidFill>
                <a:schemeClr val="dk2"/>
              </a:solidFill>
            </a:ln>
          </a:bottom>
        </a:tcBdr>
      </a:tcStyle>
    </a:lastRow>
    <a:firstRow>
      <a:tcTxStyle>
        <a:fontRef idx="minor">
          <a:prstClr val="white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1FECB4D8-DB02-4DC6-A0A2-4F2EBAE1DC90}" styleName="Mittlere Formatvorlage 1 - Akz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3">
              <a:tint val="20000"/>
            </a:schemeClr>
          </a:solidFill>
        </a:fill>
      </a:tcStyle>
    </a:band1H>
    <a:band1V>
      <a:tcStyle>
        <a:tcBdr/>
        <a:fill>
          <a:solidFill>
            <a:schemeClr val="accent3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vertBarState="maximized" horzBarState="maximized">
    <p:restoredLeft sz="13030" autoAdjust="0"/>
    <p:restoredTop sz="94660"/>
  </p:normalViewPr>
  <p:slideViewPr>
    <p:cSldViewPr showGuides="1">
      <p:cViewPr varScale="1">
        <p:scale>
          <a:sx n="176" d="100"/>
          <a:sy n="176" d="100"/>
        </p:scale>
        <p:origin x="-108" y="-150"/>
      </p:cViewPr>
      <p:guideLst>
        <p:guide orient="horz" pos="635"/>
        <p:guide orient="horz" pos="3084"/>
        <p:guide pos="113"/>
        <p:guide pos="3515"/>
        <p:guide pos="3696"/>
        <p:guide pos="4649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howGuides="1">
      <p:cViewPr>
        <p:scale>
          <a:sx n="75" d="100"/>
          <a:sy n="75" d="100"/>
        </p:scale>
        <p:origin x="-3888" y="-672"/>
      </p:cViewPr>
      <p:guideLst>
        <p:guide orient="horz" pos="3193"/>
        <p:guide pos="343"/>
        <p:guide pos="3939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handoutMaster" Target="handoutMasters/handoutMaster1.xml"/><Relationship Id="rId3" Type="http://schemas.openxmlformats.org/officeDocument/2006/relationships/slide" Target="slides/slide2.xml"/><Relationship Id="rId21" Type="http://schemas.openxmlformats.org/officeDocument/2006/relationships/viewProps" Target="view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tags" Target="tags/tag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heme" Target="theme/theme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10"/>
    </mc:Choice>
    <mc:Fallback>
      <c:style val="10"/>
    </mc:Fallback>
  </mc:AlternateContent>
  <c:chart>
    <c:autoTitleDeleted val="1"/>
    <c:plotArea>
      <c:layout/>
      <c:pieChart>
        <c:varyColors val="1"/>
        <c:ser>
          <c:idx val="0"/>
          <c:order val="0"/>
          <c:tx>
            <c:strRef>
              <c:f>Tabelle1!$B$1</c:f>
              <c:strCache>
                <c:ptCount val="1"/>
                <c:pt idx="0">
                  <c:v>Verkauf</c:v>
                </c:pt>
              </c:strCache>
            </c:strRef>
          </c:tx>
          <c:dPt>
            <c:idx val="0"/>
            <c:bubble3D val="0"/>
          </c:dPt>
          <c:dPt>
            <c:idx val="1"/>
            <c:bubble3D val="0"/>
          </c:dPt>
          <c:dPt>
            <c:idx val="2"/>
            <c:bubble3D val="0"/>
          </c:dPt>
          <c:dPt>
            <c:idx val="3"/>
            <c:bubble3D val="0"/>
          </c:dPt>
          <c:dPt>
            <c:idx val="4"/>
            <c:bubble3D val="0"/>
          </c:dPt>
          <c:dPt>
            <c:idx val="5"/>
            <c:bubble3D val="0"/>
          </c:dPt>
          <c:dLbls>
            <c:showLegendKey val="0"/>
            <c:showVal val="0"/>
            <c:showCatName val="0"/>
            <c:showSerName val="0"/>
            <c:showPercent val="1"/>
            <c:showBubbleSize val="0"/>
            <c:showLeaderLines val="1"/>
            <c:extLst xmlns:c16r2="http://schemas.microsoft.com/office/drawing/2015/06/chart">
              <c:ext xmlns:c15="http://schemas.microsoft.com/office/drawing/2012/chart" uri="{CE6537A1-D6FC-4f65-9D91-7224C49458BB}">
                <c15:layout/>
              </c:ext>
            </c:extLst>
          </c:dLbls>
          <c:cat>
            <c:strRef>
              <c:f>Tabelle1!$A$2:$A$7</c:f>
              <c:strCache>
                <c:ptCount val="6"/>
                <c:pt idx="0">
                  <c:v>1. Analyse</c:v>
                </c:pt>
                <c:pt idx="1">
                  <c:v>2. Entwurf</c:v>
                </c:pt>
                <c:pt idx="2">
                  <c:v>3. Realisierung</c:v>
                </c:pt>
                <c:pt idx="3">
                  <c:v>4. Test</c:v>
                </c:pt>
                <c:pt idx="4">
                  <c:v>5. Refactoring</c:v>
                </c:pt>
                <c:pt idx="5">
                  <c:v>6. Dokumentation</c:v>
                </c:pt>
              </c:strCache>
            </c:strRef>
          </c:cat>
          <c:val>
            <c:numRef>
              <c:f>Tabelle1!$B$2:$B$7</c:f>
              <c:numCache>
                <c:formatCode>General</c:formatCode>
                <c:ptCount val="6"/>
                <c:pt idx="0">
                  <c:v>8.5699999999999998E-2</c:v>
                </c:pt>
                <c:pt idx="1">
                  <c:v>0.12859999999999999</c:v>
                </c:pt>
                <c:pt idx="2">
                  <c:v>0.5514</c:v>
                </c:pt>
                <c:pt idx="3">
                  <c:v>5.7099999999999998E-2</c:v>
                </c:pt>
                <c:pt idx="4">
                  <c:v>2.8570000000000002E-2</c:v>
                </c:pt>
                <c:pt idx="5">
                  <c:v>0.1429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5785-4E07-824C-13191F94B7D4}"/>
            </c:ext>
          </c:extLst>
        </c:ser>
        <c:dLbls>
          <c:showLegendKey val="0"/>
          <c:showVal val="0"/>
          <c:showCatName val="0"/>
          <c:showSerName val="0"/>
          <c:showPercent val="1"/>
          <c:showBubbleSize val="0"/>
          <c:showLeaderLines val="1"/>
        </c:dLbls>
        <c:firstSliceAng val="0"/>
      </c:pieChart>
    </c:plotArea>
    <c:legend>
      <c:legendPos val="r"/>
      <c:layout>
        <c:manualLayout>
          <c:xMode val="edge"/>
          <c:yMode val="edge"/>
          <c:x val="0.59847148736037625"/>
          <c:y val="0.14842145415888267"/>
          <c:w val="0.38741916519694297"/>
          <c:h val="0.80061742065601849"/>
        </c:manualLayout>
      </c:layout>
      <c:overlay val="0"/>
    </c:legend>
    <c:plotVisOnly val="1"/>
    <c:dispBlanksAs val="gap"/>
    <c:showDLblsOverMax val="0"/>
  </c:chart>
  <c:txPr>
    <a:bodyPr/>
    <a:lstStyle/>
    <a:p>
      <a:pPr>
        <a:defRPr sz="1800"/>
      </a:pPr>
      <a:endParaRPr lang="de-DE"/>
    </a:p>
  </c:txPr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3"/>
          <p:cNvSpPr>
            <a:spLocks noGrp="1"/>
          </p:cNvSpPr>
          <p:nvPr>
            <p:ph type="dt" sz="half" idx="1"/>
          </p:nvPr>
        </p:nvSpPr>
        <p:spPr bwMode="gray">
          <a:xfrm>
            <a:off x="900727" y="9550407"/>
            <a:ext cx="713746" cy="24137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 sz="900">
                <a:solidFill>
                  <a:schemeClr val="tx1"/>
                </a:solidFill>
              </a:defRPr>
            </a:lvl1pPr>
          </a:lstStyle>
          <a:p>
            <a:fld id="{C6CA75DE-53F2-4E32-A428-21861BFC6312}" type="datetimeFigureOut">
              <a:rPr lang="de-DE" smtClean="0"/>
              <a:pPr/>
              <a:t>08.06.2017</a:t>
            </a:fld>
            <a:endParaRPr lang="de-DE"/>
          </a:p>
        </p:txBody>
      </p:sp>
      <p:sp>
        <p:nvSpPr>
          <p:cNvPr id="7" name="Fußzeilenplatzhalter 4"/>
          <p:cNvSpPr>
            <a:spLocks noGrp="1"/>
          </p:cNvSpPr>
          <p:nvPr>
            <p:ph type="ftr" sz="quarter" idx="2"/>
          </p:nvPr>
        </p:nvSpPr>
        <p:spPr bwMode="gray">
          <a:xfrm>
            <a:off x="1614472" y="9550408"/>
            <a:ext cx="4638759" cy="23582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 sz="900">
                <a:solidFill>
                  <a:schemeClr val="tx1"/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8" name="Foliennummernplatzhalter 5"/>
          <p:cNvSpPr>
            <a:spLocks noGrp="1"/>
          </p:cNvSpPr>
          <p:nvPr>
            <p:ph type="sldNum" sz="quarter" idx="3"/>
          </p:nvPr>
        </p:nvSpPr>
        <p:spPr bwMode="gray">
          <a:xfrm>
            <a:off x="543854" y="9550407"/>
            <a:ext cx="356873" cy="24137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 sz="900">
                <a:solidFill>
                  <a:schemeClr val="tx1"/>
                </a:solidFill>
              </a:defRPr>
            </a:lvl1pPr>
          </a:lstStyle>
          <a:p>
            <a:fld id="{BBB7A6D9-B692-4CF8-B6FB-4109F6119714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62214482"/>
      </p:ext>
    </p:extLst>
  </p:cSld>
  <p:clrMap bg1="lt1" tx1="dk1" bg2="lt2" tx2="dk2" accent1="accent1" accent2="accent2" accent3="accent3" accent4="accent4" accent5="accent5" accent6="accent6" hlink="hlink" folHlink="folHlink"/>
  <p:hf hdr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6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gray">
          <a:xfrm>
            <a:off x="536921" y="982663"/>
            <a:ext cx="5310188" cy="3743325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8197" name="Rectangle 5"/>
          <p:cNvSpPr>
            <a:spLocks noGrp="1" noChangeArrowheads="1"/>
          </p:cNvSpPr>
          <p:nvPr>
            <p:ph type="body" sz="quarter" idx="3"/>
          </p:nvPr>
        </p:nvSpPr>
        <p:spPr bwMode="gray">
          <a:xfrm>
            <a:off x="544443" y="5069086"/>
            <a:ext cx="5708789" cy="416444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</a:p>
          <a:p>
            <a:pPr lvl="5"/>
            <a:r>
              <a:rPr lang="de-DE" dirty="0" smtClean="0"/>
              <a:t>Sechste Ebene</a:t>
            </a:r>
          </a:p>
          <a:p>
            <a:pPr lvl="6"/>
            <a:r>
              <a:rPr lang="de-DE" dirty="0" smtClean="0"/>
              <a:t>Siebte Ebene</a:t>
            </a:r>
          </a:p>
          <a:p>
            <a:pPr lvl="7"/>
            <a:r>
              <a:rPr lang="de-DE" dirty="0" smtClean="0"/>
              <a:t>Achte Ebene</a:t>
            </a:r>
          </a:p>
          <a:p>
            <a:pPr lvl="8"/>
            <a:r>
              <a:rPr lang="de-DE" dirty="0" smtClean="0"/>
              <a:t>Neunte Ebene</a:t>
            </a:r>
          </a:p>
        </p:txBody>
      </p:sp>
      <p:sp>
        <p:nvSpPr>
          <p:cNvPr id="7" name="Datumsplatzhalter 3"/>
          <p:cNvSpPr>
            <a:spLocks noGrp="1"/>
          </p:cNvSpPr>
          <p:nvPr>
            <p:ph type="dt" sz="half" idx="1"/>
          </p:nvPr>
        </p:nvSpPr>
        <p:spPr bwMode="gray">
          <a:xfrm>
            <a:off x="900727" y="9550407"/>
            <a:ext cx="713746" cy="24137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 sz="900">
                <a:solidFill>
                  <a:schemeClr val="tx1"/>
                </a:solidFill>
              </a:defRPr>
            </a:lvl1pPr>
          </a:lstStyle>
          <a:p>
            <a:fld id="{C6CA75DE-53F2-4E32-A428-21861BFC6312}" type="datetimeFigureOut">
              <a:rPr lang="de-DE" smtClean="0"/>
              <a:pPr/>
              <a:t>08.06.2017</a:t>
            </a:fld>
            <a:endParaRPr lang="de-DE"/>
          </a:p>
        </p:txBody>
      </p:sp>
      <p:sp>
        <p:nvSpPr>
          <p:cNvPr id="8" name="Fußzeilenplatzhalter 4"/>
          <p:cNvSpPr>
            <a:spLocks noGrp="1"/>
          </p:cNvSpPr>
          <p:nvPr>
            <p:ph type="ftr" sz="quarter" idx="4"/>
          </p:nvPr>
        </p:nvSpPr>
        <p:spPr bwMode="gray">
          <a:xfrm>
            <a:off x="1614472" y="9550408"/>
            <a:ext cx="4638759" cy="23582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 sz="900">
                <a:solidFill>
                  <a:schemeClr val="tx1"/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9" name="Foliennummernplatzhalter 5"/>
          <p:cNvSpPr>
            <a:spLocks noGrp="1"/>
          </p:cNvSpPr>
          <p:nvPr>
            <p:ph type="sldNum" sz="quarter" idx="5"/>
          </p:nvPr>
        </p:nvSpPr>
        <p:spPr bwMode="gray">
          <a:xfrm>
            <a:off x="543854" y="9550407"/>
            <a:ext cx="356873" cy="24137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 sz="900">
                <a:solidFill>
                  <a:schemeClr val="tx1"/>
                </a:solidFill>
              </a:defRPr>
            </a:lvl1pPr>
          </a:lstStyle>
          <a:p>
            <a:fld id="{BBB7A6D9-B692-4CF8-B6FB-4109F6119714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20264961"/>
      </p:ext>
    </p:extLst>
  </p:cSld>
  <p:clrMap bg1="lt1" tx1="dk1" bg2="lt2" tx2="dk2" accent1="accent1" accent2="accent2" accent3="accent3" accent4="accent4" accent5="accent5" accent6="accent6" hlink="hlink" folHlink="folHlink"/>
  <p:hf hdr="0"/>
  <p:notesStyle>
    <a:lvl1pPr algn="l" rtl="0" fontAlgn="base">
      <a:lnSpc>
        <a:spcPct val="110000"/>
      </a:lnSpc>
      <a:spcBef>
        <a:spcPts val="242"/>
      </a:spcBef>
      <a:spcAft>
        <a:spcPts val="242"/>
      </a:spcAft>
      <a:defRPr sz="1000" kern="1200">
        <a:solidFill>
          <a:schemeClr val="tx1"/>
        </a:solidFill>
        <a:latin typeface="Arial" charset="0"/>
        <a:ea typeface="+mn-ea"/>
        <a:cs typeface="+mn-cs"/>
      </a:defRPr>
    </a:lvl1pPr>
    <a:lvl2pPr marL="144990" indent="-144990" algn="l" rtl="0" fontAlgn="base">
      <a:lnSpc>
        <a:spcPct val="110000"/>
      </a:lnSpc>
      <a:spcBef>
        <a:spcPts val="242"/>
      </a:spcBef>
      <a:spcAft>
        <a:spcPts val="242"/>
      </a:spcAft>
      <a:buFont typeface="Arial" pitchFamily="34" charset="0"/>
      <a:buChar char="•"/>
      <a:defRPr sz="1000" kern="1200">
        <a:solidFill>
          <a:schemeClr val="tx1"/>
        </a:solidFill>
        <a:latin typeface="Arial" charset="0"/>
        <a:ea typeface="+mn-ea"/>
        <a:cs typeface="+mn-cs"/>
      </a:defRPr>
    </a:lvl2pPr>
    <a:lvl3pPr marL="289980" indent="-144990" algn="l" rtl="0" fontAlgn="base">
      <a:lnSpc>
        <a:spcPct val="110000"/>
      </a:lnSpc>
      <a:spcBef>
        <a:spcPts val="242"/>
      </a:spcBef>
      <a:spcAft>
        <a:spcPts val="242"/>
      </a:spcAft>
      <a:buFont typeface="Arial" pitchFamily="34" charset="0"/>
      <a:buChar char="•"/>
      <a:defRPr sz="1000" kern="1200">
        <a:solidFill>
          <a:schemeClr val="tx1"/>
        </a:solidFill>
        <a:latin typeface="Arial" charset="0"/>
        <a:ea typeface="+mn-ea"/>
        <a:cs typeface="+mn-cs"/>
      </a:defRPr>
    </a:lvl3pPr>
    <a:lvl4pPr marL="434769" indent="-144990" algn="l" rtl="0" fontAlgn="base">
      <a:lnSpc>
        <a:spcPct val="110000"/>
      </a:lnSpc>
      <a:spcBef>
        <a:spcPts val="242"/>
      </a:spcBef>
      <a:spcAft>
        <a:spcPts val="242"/>
      </a:spcAft>
      <a:buFont typeface="Arial" pitchFamily="34" charset="0"/>
      <a:buChar char="•"/>
      <a:defRPr sz="1000" kern="1200">
        <a:solidFill>
          <a:schemeClr val="tx1"/>
        </a:solidFill>
        <a:latin typeface="Arial" charset="0"/>
        <a:ea typeface="+mn-ea"/>
        <a:cs typeface="+mn-cs"/>
      </a:defRPr>
    </a:lvl4pPr>
    <a:lvl5pPr marL="579960" indent="-144990" algn="l" rtl="0" fontAlgn="base">
      <a:lnSpc>
        <a:spcPct val="110000"/>
      </a:lnSpc>
      <a:spcBef>
        <a:spcPts val="242"/>
      </a:spcBef>
      <a:spcAft>
        <a:spcPts val="242"/>
      </a:spcAft>
      <a:buFont typeface="Arial" pitchFamily="34" charset="0"/>
      <a:buChar char="•"/>
      <a:defRPr sz="1000" kern="1200">
        <a:solidFill>
          <a:schemeClr val="tx1"/>
        </a:solidFill>
        <a:latin typeface="Arial" charset="0"/>
        <a:ea typeface="+mn-ea"/>
        <a:cs typeface="+mn-cs"/>
      </a:defRPr>
    </a:lvl5pPr>
    <a:lvl6pPr marL="579960" indent="-144990" algn="l" defTabSz="736549" rtl="0" eaLnBrk="1" latinLnBrk="0" hangingPunct="1">
      <a:lnSpc>
        <a:spcPct val="110000"/>
      </a:lnSpc>
      <a:spcBef>
        <a:spcPts val="242"/>
      </a:spcBef>
      <a:spcAft>
        <a:spcPts val="242"/>
      </a:spcAft>
      <a:buFont typeface="Arial" pitchFamily="34" charset="0"/>
      <a:buChar char="•"/>
      <a:defRPr sz="1000" kern="1200" baseline="0">
        <a:solidFill>
          <a:schemeClr val="tx1"/>
        </a:solidFill>
        <a:latin typeface="+mn-lt"/>
        <a:ea typeface="+mn-ea"/>
        <a:cs typeface="+mn-cs"/>
      </a:defRPr>
    </a:lvl6pPr>
    <a:lvl7pPr marL="579960" indent="-144990" algn="l" defTabSz="736549" rtl="0" eaLnBrk="1" latinLnBrk="0" hangingPunct="1">
      <a:lnSpc>
        <a:spcPct val="110000"/>
      </a:lnSpc>
      <a:spcBef>
        <a:spcPts val="242"/>
      </a:spcBef>
      <a:spcAft>
        <a:spcPts val="242"/>
      </a:spcAft>
      <a:buFont typeface="Arial" pitchFamily="34" charset="0"/>
      <a:buChar char="•"/>
      <a:defRPr sz="1000" kern="1200" baseline="0">
        <a:solidFill>
          <a:schemeClr val="tx1"/>
        </a:solidFill>
        <a:latin typeface="+mn-lt"/>
        <a:ea typeface="+mn-ea"/>
        <a:cs typeface="+mn-cs"/>
      </a:defRPr>
    </a:lvl7pPr>
    <a:lvl8pPr marL="579960" indent="-144990" algn="l" defTabSz="736549" rtl="0" eaLnBrk="1" latinLnBrk="0" hangingPunct="1">
      <a:lnSpc>
        <a:spcPct val="110000"/>
      </a:lnSpc>
      <a:spcBef>
        <a:spcPts val="242"/>
      </a:spcBef>
      <a:spcAft>
        <a:spcPts val="242"/>
      </a:spcAft>
      <a:buFont typeface="Arial" pitchFamily="34" charset="0"/>
      <a:buChar char="•"/>
      <a:defRPr sz="1000" kern="1200" baseline="0">
        <a:solidFill>
          <a:schemeClr val="tx1"/>
        </a:solidFill>
        <a:latin typeface="+mn-lt"/>
        <a:ea typeface="+mn-ea"/>
        <a:cs typeface="+mn-cs"/>
      </a:defRPr>
    </a:lvl8pPr>
    <a:lvl9pPr marL="579960" indent="-144990" algn="l" defTabSz="736549" rtl="0" eaLnBrk="1" latinLnBrk="0" hangingPunct="1">
      <a:lnSpc>
        <a:spcPct val="110000"/>
      </a:lnSpc>
      <a:spcBef>
        <a:spcPts val="242"/>
      </a:spcBef>
      <a:spcAft>
        <a:spcPts val="242"/>
      </a:spcAft>
      <a:buFont typeface="Arial" pitchFamily="34" charset="0"/>
      <a:buChar char="•"/>
      <a:defRPr sz="1000" kern="1200" baseline="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298" name="Rectangle 7"/>
          <p:cNvSpPr>
            <a:spLocks noGrp="1" noChangeArrowheads="1"/>
          </p:cNvSpPr>
          <p:nvPr>
            <p:ph type="sldNum" sz="quarter" idx="5"/>
          </p:nvPr>
        </p:nvSpPr>
        <p:spPr>
          <a:xfrm>
            <a:off x="0" y="9471798"/>
            <a:ext cx="472479" cy="499110"/>
          </a:xfrm>
          <a:prstGeom prst="rect">
            <a:avLst/>
          </a:prstGeom>
          <a:noFill/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fld id="{343956B8-8AE1-4D1A-BEAF-8A4D8F945B51}" type="slidenum">
              <a:rPr lang="de-DE" sz="1000"/>
              <a:pPr eaLnBrk="1" hangingPunct="1"/>
              <a:t>1</a:t>
            </a:fld>
            <a:endParaRPr lang="de-DE" sz="1000"/>
          </a:p>
        </p:txBody>
      </p:sp>
      <p:sp>
        <p:nvSpPr>
          <p:cNvPr id="5529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746125" y="749300"/>
            <a:ext cx="5308600" cy="3743325"/>
          </a:xfrm>
          <a:ln/>
        </p:spPr>
      </p:sp>
      <p:sp>
        <p:nvSpPr>
          <p:cNvPr id="5530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874888" y="4743279"/>
            <a:ext cx="5047903" cy="4490256"/>
          </a:xfrm>
          <a:noFill/>
        </p:spPr>
        <p:txBody>
          <a:bodyPr lIns="92045" tIns="46029" rIns="92045" bIns="46029"/>
          <a:lstStyle/>
          <a:p>
            <a:pPr eaLnBrk="1" hangingPunct="1"/>
            <a:endParaRPr lang="de-DE" smtClean="0"/>
          </a:p>
        </p:txBody>
      </p:sp>
      <p:sp>
        <p:nvSpPr>
          <p:cNvPr id="2" name="Datumsplatzhalter 1"/>
          <p:cNvSpPr>
            <a:spLocks noGrp="1"/>
          </p:cNvSpPr>
          <p:nvPr>
            <p:ph type="dt" idx="10"/>
          </p:nvPr>
        </p:nvSpPr>
        <p:spPr>
          <a:xfrm>
            <a:off x="472479" y="9471798"/>
            <a:ext cx="785121" cy="499110"/>
          </a:xfrm>
          <a:prstGeom prst="rect">
            <a:avLst/>
          </a:prstGeom>
        </p:spPr>
        <p:txBody>
          <a:bodyPr/>
          <a:lstStyle/>
          <a:p>
            <a:fld id="{90870B8E-6320-4E8A-929D-2C531AE59AF3}" type="datetime1">
              <a:rPr lang="de-DE" smtClean="0"/>
              <a:t>08.06.2017</a:t>
            </a:fld>
            <a:endParaRPr lang="de-DE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>
          <a:xfrm>
            <a:off x="1257600" y="9471798"/>
            <a:ext cx="5540075" cy="499110"/>
          </a:xfrm>
          <a:prstGeom prst="rect">
            <a:avLst/>
          </a:prstGeom>
        </p:spPr>
        <p:txBody>
          <a:bodyPr/>
          <a:lstStyle/>
          <a:p>
            <a:endParaRPr lang="de-DE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&#10;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7423258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40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gray">
          <a:xfrm>
            <a:off x="179388" y="2160564"/>
            <a:ext cx="5400675" cy="936104"/>
          </a:xfrm>
        </p:spPr>
        <p:txBody>
          <a:bodyPr anchor="ctr"/>
          <a:lstStyle>
            <a:lvl1pPr>
              <a:defRPr sz="2400" b="0"/>
            </a:lvl1pPr>
          </a:lstStyle>
          <a:p>
            <a:r>
              <a:rPr lang="de-DE" dirty="0" smtClean="0"/>
              <a:t>Titel der Präsentation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179388" y="3384699"/>
            <a:ext cx="5400675" cy="1511151"/>
          </a:xfrm>
        </p:spPr>
        <p:txBody>
          <a:bodyPr/>
          <a:lstStyle>
            <a:lvl1pPr marL="0" indent="0" algn="l">
              <a:spcBef>
                <a:spcPts val="0"/>
              </a:spcBef>
              <a:spcAft>
                <a:spcPts val="271"/>
              </a:spcAft>
              <a:buNone/>
              <a:defRPr sz="1300">
                <a:solidFill>
                  <a:schemeClr val="tx1"/>
                </a:solidFill>
              </a:defRPr>
            </a:lvl1pPr>
            <a:lvl2pPr marL="0" indent="0" algn="l">
              <a:spcBef>
                <a:spcPts val="1530"/>
              </a:spcBef>
              <a:buNone/>
              <a:defRPr sz="1300">
                <a:solidFill>
                  <a:schemeClr val="tx1"/>
                </a:solidFill>
              </a:defRPr>
            </a:lvl2pPr>
            <a:lvl3pPr marL="0" indent="0" algn="l">
              <a:buNone/>
              <a:defRPr sz="1300">
                <a:solidFill>
                  <a:schemeClr val="tx1"/>
                </a:solidFill>
              </a:defRPr>
            </a:lvl3pPr>
            <a:lvl4pPr marL="0" indent="0" algn="l">
              <a:buNone/>
              <a:defRPr sz="1300">
                <a:solidFill>
                  <a:schemeClr val="tx1"/>
                </a:solidFill>
              </a:defRPr>
            </a:lvl4pPr>
            <a:lvl5pPr marL="0" indent="0" algn="l">
              <a:buNone/>
              <a:defRPr sz="1300">
                <a:solidFill>
                  <a:schemeClr val="tx1"/>
                </a:solidFill>
              </a:defRPr>
            </a:lvl5pPr>
            <a:lvl6pPr marL="0" indent="0" algn="l">
              <a:buNone/>
              <a:defRPr sz="1300">
                <a:solidFill>
                  <a:schemeClr val="tx1"/>
                </a:solidFill>
              </a:defRPr>
            </a:lvl6pPr>
            <a:lvl7pPr marL="0" indent="0" algn="l">
              <a:buNone/>
              <a:defRPr sz="1300">
                <a:solidFill>
                  <a:schemeClr val="tx1"/>
                </a:solidFill>
              </a:defRPr>
            </a:lvl7pPr>
            <a:lvl8pPr marL="0" indent="0" algn="l">
              <a:buNone/>
              <a:defRPr sz="1300">
                <a:solidFill>
                  <a:schemeClr val="tx1"/>
                </a:solidFill>
              </a:defRPr>
            </a:lvl8pPr>
            <a:lvl9pPr marL="0" indent="0" algn="l">
              <a:buNone/>
              <a:defRPr sz="1300">
                <a:solidFill>
                  <a:schemeClr val="tx1"/>
                </a:solidFill>
              </a:defRPr>
            </a:lvl9pPr>
          </a:lstStyle>
          <a:p>
            <a:pPr lvl="0"/>
            <a:r>
              <a:rPr lang="de-DE" dirty="0" smtClean="0"/>
              <a:t>Untertitel der Präsentation</a:t>
            </a:r>
          </a:p>
          <a:p>
            <a:pPr lvl="0"/>
            <a:r>
              <a:rPr lang="de-DE" dirty="0" smtClean="0"/>
              <a:t>Name des Referenten</a:t>
            </a:r>
          </a:p>
          <a:p>
            <a:pPr lvl="1"/>
            <a:r>
              <a:rPr lang="de-DE" dirty="0" smtClean="0"/>
              <a:t>Ort, Datum in der zweiten Ebene</a:t>
            </a:r>
          </a:p>
        </p:txBody>
      </p:sp>
    </p:spTree>
    <p:extLst>
      <p:ext uri="{BB962C8B-B14F-4D97-AF65-F5344CB8AC3E}">
        <p14:creationId xmlns:p14="http://schemas.microsoft.com/office/powerpoint/2010/main" val="2238085789"/>
      </p:ext>
    </p:extLst>
  </p:cSld>
  <p:clrMapOvr>
    <a:masterClrMapping/>
  </p:clrMapOvr>
  <p:transition spd="med">
    <p:wipe/>
  </p:transition>
  <p:timing>
    <p:tnLst>
      <p:par>
        <p:cTn id="1" dur="indefinite" restart="never" nodeType="tmRoot"/>
      </p:par>
    </p:tnLst>
  </p:timing>
  <p:hf hdr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r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1860926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64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platzhalter 13"/>
          <p:cNvSpPr>
            <a:spLocks noGrp="1"/>
          </p:cNvSpPr>
          <p:nvPr>
            <p:ph type="body" sz="quarter" idx="13"/>
          </p:nvPr>
        </p:nvSpPr>
        <p:spPr bwMode="gray">
          <a:xfrm>
            <a:off x="179388" y="2736627"/>
            <a:ext cx="5400675" cy="2159223"/>
          </a:xfrm>
          <a:solidFill>
            <a:schemeClr val="bg1">
              <a:alpha val="85000"/>
            </a:schemeClr>
          </a:solidFill>
          <a:effectLst>
            <a:outerShdw blurRad="76200" sx="101000" sy="101000" algn="ctr" rotWithShape="0">
              <a:schemeClr val="tx1">
                <a:alpha val="30000"/>
              </a:schemeClr>
            </a:outerShdw>
          </a:effectLst>
        </p:spPr>
        <p:txBody>
          <a:bodyPr lIns="173988" tIns="173988" rIns="173988" bIns="173988" anchor="b" anchorCtr="0"/>
          <a:lstStyle>
            <a:lvl1pPr>
              <a:spcBef>
                <a:spcPts val="0"/>
              </a:spcBef>
              <a:spcAft>
                <a:spcPts val="0"/>
              </a:spcAft>
              <a:defRPr sz="1400">
                <a:solidFill>
                  <a:schemeClr val="bg2"/>
                </a:solidFill>
              </a:defRPr>
            </a:lvl1pPr>
            <a:lvl2pPr>
              <a:spcBef>
                <a:spcPts val="0"/>
              </a:spcBef>
              <a:spcAft>
                <a:spcPts val="0"/>
              </a:spcAft>
              <a:defRPr sz="1400">
                <a:solidFill>
                  <a:schemeClr val="bg2"/>
                </a:solidFill>
              </a:defRPr>
            </a:lvl2pPr>
            <a:lvl3pPr>
              <a:spcBef>
                <a:spcPts val="0"/>
              </a:spcBef>
              <a:spcAft>
                <a:spcPts val="0"/>
              </a:spcAft>
              <a:defRPr sz="1400">
                <a:solidFill>
                  <a:schemeClr val="bg2"/>
                </a:solidFill>
              </a:defRPr>
            </a:lvl3pPr>
            <a:lvl4pPr>
              <a:spcBef>
                <a:spcPts val="0"/>
              </a:spcBef>
              <a:spcAft>
                <a:spcPts val="0"/>
              </a:spcAft>
              <a:defRPr sz="1400">
                <a:solidFill>
                  <a:schemeClr val="bg2"/>
                </a:solidFill>
              </a:defRPr>
            </a:lvl4pPr>
            <a:lvl5pPr>
              <a:spcBef>
                <a:spcPts val="0"/>
              </a:spcBef>
              <a:spcAft>
                <a:spcPts val="0"/>
              </a:spcAft>
              <a:defRPr sz="1400">
                <a:solidFill>
                  <a:schemeClr val="bg2"/>
                </a:solidFill>
              </a:defRPr>
            </a:lvl5pPr>
            <a:lvl6pPr>
              <a:spcBef>
                <a:spcPts val="0"/>
              </a:spcBef>
              <a:spcAft>
                <a:spcPts val="0"/>
              </a:spcAft>
              <a:defRPr sz="1400">
                <a:solidFill>
                  <a:schemeClr val="bg2"/>
                </a:solidFill>
              </a:defRPr>
            </a:lvl6pPr>
            <a:lvl7pPr>
              <a:spcBef>
                <a:spcPts val="0"/>
              </a:spcBef>
              <a:spcAft>
                <a:spcPts val="0"/>
              </a:spcAft>
              <a:defRPr sz="1400">
                <a:solidFill>
                  <a:schemeClr val="bg2"/>
                </a:solidFill>
              </a:defRPr>
            </a:lvl7pPr>
            <a:lvl8pPr>
              <a:spcBef>
                <a:spcPts val="0"/>
              </a:spcBef>
              <a:spcAft>
                <a:spcPts val="0"/>
              </a:spcAft>
              <a:defRPr sz="1400">
                <a:solidFill>
                  <a:schemeClr val="bg2"/>
                </a:solidFill>
              </a:defRPr>
            </a:lvl8pPr>
            <a:lvl9pPr>
              <a:spcBef>
                <a:spcPts val="0"/>
              </a:spcBef>
              <a:spcAft>
                <a:spcPts val="0"/>
              </a:spcAft>
              <a:defRPr sz="1400">
                <a:solidFill>
                  <a:schemeClr val="bg2"/>
                </a:solidFill>
              </a:defRPr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3951214704"/>
      </p:ext>
    </p:extLst>
  </p:cSld>
  <p:clrMapOvr>
    <a:masterClrMapping/>
  </p:clrMapOvr>
  <p:transition spd="med">
    <p:wipe/>
  </p:transition>
  <p:timing>
    <p:tnLst>
      <p:par>
        <p:cTn id="1" dur="indefinite" restart="never" nodeType="tmRoot"/>
      </p:par>
    </p:tnLst>
  </p:timing>
  <p:hf hdr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trenner&#10;Section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platzhalter 13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179388" y="2736627"/>
            <a:ext cx="5400675" cy="2159224"/>
          </a:xfrm>
          <a:solidFill>
            <a:schemeClr val="bg1">
              <a:alpha val="85000"/>
            </a:schemeClr>
          </a:solidFill>
          <a:effectLst>
            <a:outerShdw blurRad="76200" sx="101000" sy="101000" algn="ctr" rotWithShape="0">
              <a:schemeClr val="tx1">
                <a:alpha val="30000"/>
              </a:schemeClr>
            </a:outerShdw>
          </a:effectLst>
        </p:spPr>
        <p:txBody>
          <a:bodyPr vert="horz" lIns="173988" tIns="202986" rIns="173988" bIns="173988" rtlCol="0" anchor="b" anchorCtr="0">
            <a:noAutofit/>
          </a:bodyPr>
          <a:lstStyle>
            <a:lvl1pPr>
              <a:defRPr lang="de-DE" sz="1100" b="0" dirty="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de-DE" dirty="0" smtClean="0"/>
              <a:t>Beschreibender Text</a:t>
            </a:r>
          </a:p>
        </p:txBody>
      </p:sp>
      <p:sp>
        <p:nvSpPr>
          <p:cNvPr id="14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179388" y="2736627"/>
            <a:ext cx="5400675" cy="935204"/>
          </a:xfrm>
          <a:noFill/>
          <a:ln>
            <a:noFill/>
          </a:ln>
          <a:effectLst>
            <a:outerShdw blurRad="76200" sx="101000" sy="101000" algn="ctr" rotWithShape="0">
              <a:schemeClr val="tx1">
                <a:alpha val="30000"/>
              </a:schemeClr>
            </a:outerShdw>
          </a:effectLst>
        </p:spPr>
        <p:txBody>
          <a:bodyPr lIns="144000" tIns="202986" rIns="173988" bIns="115992" anchor="b" anchorCtr="0"/>
          <a:lstStyle>
            <a:lvl1pPr>
              <a:defRPr sz="1900" b="0" cap="all" baseline="0"/>
            </a:lvl1pPr>
          </a:lstStyle>
          <a:p>
            <a:r>
              <a:rPr lang="de-DE" dirty="0" smtClean="0"/>
              <a:t>Kapitelname</a:t>
            </a:r>
            <a:endParaRPr lang="de-DE" dirty="0"/>
          </a:p>
        </p:txBody>
      </p:sp>
      <p:sp>
        <p:nvSpPr>
          <p:cNvPr id="15" name="Inhaltsplatzhalter 3"/>
          <p:cNvSpPr>
            <a:spLocks noGrp="1"/>
          </p:cNvSpPr>
          <p:nvPr>
            <p:ph sz="quarter" idx="14"/>
          </p:nvPr>
        </p:nvSpPr>
        <p:spPr bwMode="gray">
          <a:xfrm>
            <a:off x="324246" y="3663438"/>
            <a:ext cx="5040000" cy="8393"/>
          </a:xfrm>
          <a:solidFill>
            <a:schemeClr val="tx2"/>
          </a:solidFill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0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00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00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00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00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00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00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00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00">
                <a:solidFill>
                  <a:schemeClr val="tx2"/>
                </a:solidFill>
              </a:defRPr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4115953814"/>
      </p:ext>
    </p:extLst>
  </p:cSld>
  <p:clrMapOvr>
    <a:masterClrMapping/>
  </p:clrMapOvr>
  <p:transition spd="med">
    <p:wipe/>
  </p:transition>
  <p:timing>
    <p:tnLst>
      <p:par>
        <p:cTn id="1" dur="indefinite" restart="never" nodeType="tmRoot"/>
      </p:par>
    </p:tnLst>
  </p:timing>
  <p:hf hdr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trenner II&#10;Section Heading I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4199873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88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platzhalter 13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179388" y="2736627"/>
            <a:ext cx="5400675" cy="2159224"/>
          </a:xfrm>
          <a:solidFill>
            <a:schemeClr val="bg1">
              <a:alpha val="85000"/>
            </a:schemeClr>
          </a:solidFill>
          <a:effectLst>
            <a:outerShdw blurRad="76200" sx="101000" sy="101000" algn="ctr" rotWithShape="0">
              <a:schemeClr val="tx1">
                <a:alpha val="30000"/>
              </a:schemeClr>
            </a:outerShdw>
          </a:effectLst>
        </p:spPr>
        <p:txBody>
          <a:bodyPr vert="horz" lIns="173988" tIns="202986" rIns="173988" bIns="173988" rtlCol="0" anchor="b" anchorCtr="0">
            <a:noAutofit/>
          </a:bodyPr>
          <a:lstStyle>
            <a:lvl1pPr>
              <a:defRPr lang="de-DE" sz="1100" b="0" dirty="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de-DE" dirty="0" smtClean="0"/>
              <a:t>Beschreibender Text</a:t>
            </a:r>
          </a:p>
        </p:txBody>
      </p:sp>
      <p:sp>
        <p:nvSpPr>
          <p:cNvPr id="14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179388" y="2736627"/>
            <a:ext cx="5387855" cy="935204"/>
          </a:xfrm>
          <a:noFill/>
          <a:ln>
            <a:noFill/>
          </a:ln>
          <a:effectLst>
            <a:outerShdw blurRad="76200" sx="101000" sy="101000" algn="ctr" rotWithShape="0">
              <a:schemeClr val="tx1">
                <a:alpha val="30000"/>
              </a:schemeClr>
            </a:outerShdw>
          </a:effectLst>
        </p:spPr>
        <p:txBody>
          <a:bodyPr lIns="144000" tIns="202986" rIns="173988" bIns="115992" anchor="b" anchorCtr="0"/>
          <a:lstStyle>
            <a:lvl1pPr>
              <a:defRPr sz="1900" b="0" cap="all" baseline="0"/>
            </a:lvl1pPr>
          </a:lstStyle>
          <a:p>
            <a:r>
              <a:rPr lang="de-DE" dirty="0" smtClean="0"/>
              <a:t>Kapitelname</a:t>
            </a:r>
            <a:endParaRPr lang="de-DE" dirty="0"/>
          </a:p>
        </p:txBody>
      </p:sp>
      <p:sp>
        <p:nvSpPr>
          <p:cNvPr id="15" name="Inhaltsplatzhalter 3"/>
          <p:cNvSpPr>
            <a:spLocks noGrp="1"/>
          </p:cNvSpPr>
          <p:nvPr>
            <p:ph sz="quarter" idx="14"/>
          </p:nvPr>
        </p:nvSpPr>
        <p:spPr bwMode="gray">
          <a:xfrm>
            <a:off x="324246" y="3663438"/>
            <a:ext cx="5040000" cy="8393"/>
          </a:xfrm>
          <a:solidFill>
            <a:schemeClr val="tx2"/>
          </a:solidFill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0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00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00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00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00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00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00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00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00">
                <a:solidFill>
                  <a:schemeClr val="tx2"/>
                </a:solidFill>
              </a:defRPr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350514971"/>
      </p:ext>
    </p:extLst>
  </p:cSld>
  <p:clrMapOvr>
    <a:masterClrMapping/>
  </p:clrMapOvr>
  <p:transition spd="med">
    <p:wipe/>
  </p:transition>
  <p:timing>
    <p:tnLst>
      <p:par>
        <p:cTn id="1" dur="indefinite" restart="never" nodeType="tmRoot"/>
      </p:par>
    </p:tnLst>
  </p:timing>
  <p:hf hdr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&amp; Inhalt&#10;Title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8828556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12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 baseline="0"/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 bwMode="gray"/>
        <p:txBody>
          <a:bodyPr/>
          <a:lstStyle/>
          <a:p>
            <a:pPr lvl="0"/>
            <a:r>
              <a:rPr lang="de-DE" noProof="0" smtClean="0"/>
              <a:t>Textmaster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de-DE" noProof="0" dirty="0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A607C75-7E5E-49DD-BFE0-283F617009BA}" type="datetime1">
              <a:rPr lang="de-DE" noProof="0" smtClean="0"/>
              <a:t>08.06.2017</a:t>
            </a:fld>
            <a:endParaRPr lang="de-DE" noProof="0" dirty="0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 dirty="0" smtClean="0"/>
              <a:t>Titel der Präsentation</a:t>
            </a:r>
            <a:endParaRPr lang="de-DE" noProof="0" dirty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7FBF016-173F-4D13-AB5B-81861F2E6151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cxnSp>
        <p:nvCxnSpPr>
          <p:cNvPr id="10" name="Gerade Verbindung 9"/>
          <p:cNvCxnSpPr/>
          <p:nvPr userDrawn="1"/>
        </p:nvCxnSpPr>
        <p:spPr bwMode="gray">
          <a:xfrm>
            <a:off x="0" y="706151"/>
            <a:ext cx="5567243" cy="0"/>
          </a:xfrm>
          <a:prstGeom prst="line">
            <a:avLst/>
          </a:prstGeom>
          <a:ln w="63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Gerade Verbindung 10"/>
          <p:cNvCxnSpPr/>
          <p:nvPr userDrawn="1"/>
        </p:nvCxnSpPr>
        <p:spPr bwMode="gray">
          <a:xfrm>
            <a:off x="0" y="706151"/>
            <a:ext cx="5567243" cy="0"/>
          </a:xfrm>
          <a:prstGeom prst="line">
            <a:avLst/>
          </a:prstGeom>
          <a:ln w="63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Straight Connector 4"/>
          <p:cNvCxnSpPr/>
          <p:nvPr userDrawn="1"/>
        </p:nvCxnSpPr>
        <p:spPr>
          <a:xfrm flipH="1">
            <a:off x="180231" y="-99435"/>
            <a:ext cx="862" cy="5595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flipH="1">
            <a:off x="5580831" y="-99435"/>
            <a:ext cx="862" cy="5595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flipH="1">
            <a:off x="7380169" y="-99435"/>
            <a:ext cx="862" cy="5595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flipH="1">
            <a:off x="180231" y="5406480"/>
            <a:ext cx="862" cy="5595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 userDrawn="1"/>
        </p:nvCxnSpPr>
        <p:spPr>
          <a:xfrm flipH="1">
            <a:off x="5579969" y="5406480"/>
            <a:ext cx="862" cy="5595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/>
          <p:cNvCxnSpPr/>
          <p:nvPr userDrawn="1"/>
        </p:nvCxnSpPr>
        <p:spPr>
          <a:xfrm flipH="1">
            <a:off x="7380169" y="5406480"/>
            <a:ext cx="862" cy="5595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/>
          <p:cNvCxnSpPr/>
          <p:nvPr userDrawn="1"/>
        </p:nvCxnSpPr>
        <p:spPr>
          <a:xfrm flipH="1">
            <a:off x="5868863" y="-99435"/>
            <a:ext cx="862" cy="5595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/>
          <p:cNvCxnSpPr/>
          <p:nvPr userDrawn="1"/>
        </p:nvCxnSpPr>
        <p:spPr>
          <a:xfrm flipH="1">
            <a:off x="5868863" y="5406480"/>
            <a:ext cx="862" cy="5595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/>
          <p:cNvCxnSpPr/>
          <p:nvPr userDrawn="1"/>
        </p:nvCxnSpPr>
        <p:spPr>
          <a:xfrm rot="16200000" flipH="1">
            <a:off x="-60372" y="978261"/>
            <a:ext cx="810" cy="59538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/>
          <p:cNvCxnSpPr/>
          <p:nvPr userDrawn="1"/>
        </p:nvCxnSpPr>
        <p:spPr>
          <a:xfrm rot="16200000" flipH="1">
            <a:off x="-60372" y="4866693"/>
            <a:ext cx="810" cy="59538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/>
          <p:cNvCxnSpPr/>
          <p:nvPr userDrawn="1"/>
        </p:nvCxnSpPr>
        <p:spPr>
          <a:xfrm rot="16200000" flipH="1">
            <a:off x="7620825" y="978261"/>
            <a:ext cx="810" cy="59538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/>
          <p:cNvCxnSpPr/>
          <p:nvPr userDrawn="1"/>
        </p:nvCxnSpPr>
        <p:spPr>
          <a:xfrm rot="16200000" flipH="1">
            <a:off x="7620825" y="4867504"/>
            <a:ext cx="810" cy="59538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55436775"/>
      </p:ext>
    </p:extLst>
  </p:cSld>
  <p:clrMapOvr>
    <a:masterClrMapping/>
  </p:clrMapOvr>
  <p:transition spd="med">
    <p:wipe/>
  </p:transition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halt &amp; Marg.&#10;Content &amp; Marg.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8749447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36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 bwMode="gray"/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8" name="Inhaltsplatzhalter 7"/>
          <p:cNvSpPr>
            <a:spLocks noGrp="1"/>
          </p:cNvSpPr>
          <p:nvPr>
            <p:ph sz="quarter" idx="13" hasCustomPrompt="1"/>
          </p:nvPr>
        </p:nvSpPr>
        <p:spPr bwMode="gray">
          <a:xfrm>
            <a:off x="5867400" y="1008063"/>
            <a:ext cx="1512888" cy="3887787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 dirty="0" smtClean="0"/>
              <a:t>Optionale Marginalie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5A607C75-7E5E-49DD-BFE0-283F617009BA}" type="datetime1">
              <a:rPr lang="de-DE" noProof="0" smtClean="0"/>
              <a:t>08.06.2017</a:t>
            </a:fld>
            <a:endParaRPr lang="de-DE" noProof="0" dirty="0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 noProof="0" dirty="0" smtClean="0"/>
              <a:t>Titel der Präsentation</a:t>
            </a:r>
            <a:endParaRPr lang="de-DE" noProof="0" dirty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D7FBF016-173F-4D13-AB5B-81861F2E6151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cxnSp>
        <p:nvCxnSpPr>
          <p:cNvPr id="13" name="Straight Connector 12"/>
          <p:cNvCxnSpPr/>
          <p:nvPr userDrawn="1"/>
        </p:nvCxnSpPr>
        <p:spPr>
          <a:xfrm flipH="1">
            <a:off x="180231" y="-99435"/>
            <a:ext cx="862" cy="5595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flipH="1">
            <a:off x="5579969" y="-99435"/>
            <a:ext cx="862" cy="5595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 userDrawn="1"/>
        </p:nvCxnSpPr>
        <p:spPr>
          <a:xfrm flipH="1">
            <a:off x="7380169" y="-99435"/>
            <a:ext cx="862" cy="5595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/>
          <p:cNvCxnSpPr/>
          <p:nvPr userDrawn="1"/>
        </p:nvCxnSpPr>
        <p:spPr>
          <a:xfrm flipH="1">
            <a:off x="180231" y="5406480"/>
            <a:ext cx="862" cy="5595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/>
          <p:cNvCxnSpPr/>
          <p:nvPr userDrawn="1"/>
        </p:nvCxnSpPr>
        <p:spPr>
          <a:xfrm flipH="1">
            <a:off x="5579969" y="5406480"/>
            <a:ext cx="862" cy="5595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/>
          <p:cNvCxnSpPr/>
          <p:nvPr userDrawn="1"/>
        </p:nvCxnSpPr>
        <p:spPr>
          <a:xfrm flipH="1">
            <a:off x="7380169" y="5406480"/>
            <a:ext cx="862" cy="5595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/>
          <p:cNvCxnSpPr/>
          <p:nvPr userDrawn="1"/>
        </p:nvCxnSpPr>
        <p:spPr>
          <a:xfrm flipH="1">
            <a:off x="5868863" y="-99435"/>
            <a:ext cx="862" cy="5595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/>
          <p:cNvCxnSpPr/>
          <p:nvPr userDrawn="1"/>
        </p:nvCxnSpPr>
        <p:spPr>
          <a:xfrm flipH="1">
            <a:off x="5868001" y="5406480"/>
            <a:ext cx="862" cy="5595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/>
          <p:cNvCxnSpPr/>
          <p:nvPr userDrawn="1"/>
        </p:nvCxnSpPr>
        <p:spPr>
          <a:xfrm rot="16200000" flipH="1">
            <a:off x="-60372" y="978261"/>
            <a:ext cx="810" cy="59538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/>
          <p:cNvCxnSpPr/>
          <p:nvPr userDrawn="1"/>
        </p:nvCxnSpPr>
        <p:spPr>
          <a:xfrm rot="16200000" flipH="1">
            <a:off x="-60372" y="4866693"/>
            <a:ext cx="810" cy="59538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/>
          <p:cNvCxnSpPr/>
          <p:nvPr userDrawn="1"/>
        </p:nvCxnSpPr>
        <p:spPr>
          <a:xfrm rot="16200000" flipH="1">
            <a:off x="7620825" y="978261"/>
            <a:ext cx="810" cy="59538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/>
          <p:cNvCxnSpPr/>
          <p:nvPr userDrawn="1"/>
        </p:nvCxnSpPr>
        <p:spPr>
          <a:xfrm rot="16200000" flipH="1">
            <a:off x="7620825" y="4867504"/>
            <a:ext cx="810" cy="59538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32142442"/>
      </p:ext>
    </p:extLst>
  </p:cSld>
  <p:clrMapOvr>
    <a:masterClrMapping/>
  </p:clrMapOvr>
  <p:transition spd="med">
    <p:wipe/>
  </p:transition>
  <p:timing>
    <p:tnLst>
      <p:par>
        <p:cTn id="1" dur="indefinite" restart="never" nodeType="tmRoot"/>
      </p:par>
    </p:tnLst>
  </p:timing>
  <p:hf hdr="0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2.png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W:\Infopool\Bereiche\Unternehmenskommunikation\Corporate Design\01_PowerPoint Vorlagen_Templates\03_Bilddatenbank_Picture database\Kapiteltrennseiten_Chapter divider\Berenberg_Praesentationshintergrund-01.png"/>
          <p:cNvPicPr>
            <a:picLocks noChangeAspect="1" noChangeArrowheads="1"/>
          </p:cNvPicPr>
          <p:nvPr userDrawn="1"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106" y="0"/>
            <a:ext cx="7561263" cy="53521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39375162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17" name="think-cell Folie" r:id="rId11" imgW="270" imgH="270" progId="TCLayout.ActiveDocument.1">
                  <p:embed/>
                </p:oleObj>
              </mc:Choice>
              <mc:Fallback>
                <p:oleObj name="think-cell Folie" r:id="rId11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 bwMode="gray">
          <a:xfrm>
            <a:off x="179388" y="144339"/>
            <a:ext cx="5400675" cy="503606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de-DE" noProof="0" dirty="0" smtClean="0"/>
              <a:t>Titelmasterformat durch Klicken bearbeiten</a:t>
            </a:r>
            <a:endParaRPr lang="de-DE" noProof="0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 bwMode="gray">
          <a:xfrm>
            <a:off x="179388" y="1008063"/>
            <a:ext cx="5400675" cy="388778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de-DE" noProof="0" dirty="0" smtClean="0"/>
              <a:t>Textmasterformat bearbeiten</a:t>
            </a:r>
          </a:p>
          <a:p>
            <a:pPr lvl="1"/>
            <a:r>
              <a:rPr lang="de-DE" noProof="0" dirty="0" smtClean="0"/>
              <a:t>Test1</a:t>
            </a:r>
          </a:p>
          <a:p>
            <a:pPr lvl="2"/>
            <a:r>
              <a:rPr lang="de-DE" noProof="0" dirty="0" smtClean="0"/>
              <a:t>Test2</a:t>
            </a:r>
          </a:p>
          <a:p>
            <a:pPr lvl="3"/>
            <a:r>
              <a:rPr lang="de-DE" noProof="0" dirty="0" smtClean="0"/>
              <a:t>Vierte Ebene</a:t>
            </a:r>
          </a:p>
          <a:p>
            <a:pPr lvl="4"/>
            <a:r>
              <a:rPr lang="de-DE" noProof="0" dirty="0" smtClean="0"/>
              <a:t>Fünfte Ebene</a:t>
            </a:r>
          </a:p>
          <a:p>
            <a:pPr lvl="5"/>
            <a:r>
              <a:rPr lang="de-DE" noProof="0" dirty="0" smtClean="0"/>
              <a:t>Sechste Ebene</a:t>
            </a:r>
          </a:p>
          <a:p>
            <a:pPr lvl="6"/>
            <a:r>
              <a:rPr lang="de-DE" noProof="0" dirty="0" smtClean="0"/>
              <a:t>Siebte Ebene</a:t>
            </a:r>
          </a:p>
          <a:p>
            <a:pPr lvl="7"/>
            <a:r>
              <a:rPr lang="de-DE" noProof="0" dirty="0" smtClean="0"/>
              <a:t>Achte Ebene</a:t>
            </a:r>
          </a:p>
          <a:p>
            <a:pPr lvl="8"/>
            <a:r>
              <a:rPr lang="de-DE" noProof="0" dirty="0" smtClean="0"/>
              <a:t>Neunte Ebene</a:t>
            </a:r>
            <a:endParaRPr lang="de-DE" noProof="0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 bwMode="gray">
          <a:xfrm>
            <a:off x="396255" y="5126925"/>
            <a:ext cx="576000" cy="12481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 sz="700">
                <a:solidFill>
                  <a:schemeClr val="tx1"/>
                </a:solidFill>
              </a:defRPr>
            </a:lvl1pPr>
          </a:lstStyle>
          <a:p>
            <a:fld id="{5A607C75-7E5E-49DD-BFE0-283F617009BA}" type="datetime1">
              <a:rPr lang="de-DE" noProof="0" smtClean="0"/>
              <a:t>08.06.2017</a:t>
            </a:fld>
            <a:endParaRPr lang="de-DE" noProof="0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 bwMode="gray">
          <a:xfrm>
            <a:off x="972318" y="5126925"/>
            <a:ext cx="4608000" cy="12481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 sz="700">
                <a:solidFill>
                  <a:schemeClr val="tx1"/>
                </a:solidFill>
              </a:defRPr>
            </a:lvl1pPr>
          </a:lstStyle>
          <a:p>
            <a:r>
              <a:rPr lang="de-DE" noProof="0" dirty="0" smtClean="0"/>
              <a:t>Titel der Präsentation</a:t>
            </a:r>
            <a:endParaRPr lang="de-DE" noProof="0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 bwMode="gray">
          <a:xfrm>
            <a:off x="180231" y="5126925"/>
            <a:ext cx="216000" cy="12481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 sz="700">
                <a:solidFill>
                  <a:schemeClr val="tx1"/>
                </a:solidFill>
              </a:defRPr>
            </a:lvl1pPr>
          </a:lstStyle>
          <a:p>
            <a:fld id="{D7FBF016-173F-4D13-AB5B-81861F2E6151}" type="slidenum">
              <a:rPr lang="de-DE" noProof="0" smtClean="0"/>
              <a:pPr/>
              <a:t>‹Nr.›</a:t>
            </a:fld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11436974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6" r:id="rId1"/>
    <p:sldLayoutId id="2147483717" r:id="rId2"/>
    <p:sldLayoutId id="2147483718" r:id="rId3"/>
    <p:sldLayoutId id="2147483731" r:id="rId4"/>
    <p:sldLayoutId id="2147483719" r:id="rId5"/>
    <p:sldLayoutId id="2147483720" r:id="rId6"/>
  </p:sldLayoutIdLst>
  <p:transition spd="med">
    <p:wipe/>
  </p:transition>
  <p:timing>
    <p:tnLst>
      <p:par>
        <p:cTn id="1" dur="indefinite" restart="never" nodeType="tmRoot"/>
      </p:par>
    </p:tnLst>
  </p:timing>
  <p:hf hdr="0"/>
  <p:txStyles>
    <p:titleStyle>
      <a:lvl1pPr algn="l" defTabSz="736549" rtl="0" eaLnBrk="1" latinLnBrk="0" hangingPunct="1">
        <a:spcBef>
          <a:spcPct val="0"/>
        </a:spcBef>
        <a:buNone/>
        <a:defRPr sz="13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736549" rtl="0" eaLnBrk="1" latinLnBrk="0" hangingPunct="1">
        <a:lnSpc>
          <a:spcPct val="110000"/>
        </a:lnSpc>
        <a:spcBef>
          <a:spcPts val="242"/>
        </a:spcBef>
        <a:spcAft>
          <a:spcPts val="242"/>
        </a:spcAft>
        <a:buFont typeface="Arial" pitchFamily="34" charset="0"/>
        <a:buNone/>
        <a:defRPr sz="1100" kern="1200">
          <a:solidFill>
            <a:schemeClr val="tx1"/>
          </a:solidFill>
          <a:latin typeface="+mn-lt"/>
          <a:ea typeface="+mn-ea"/>
          <a:cs typeface="+mn-cs"/>
        </a:defRPr>
      </a:lvl1pPr>
      <a:lvl2pPr marL="144990" indent="-144990" algn="l" defTabSz="736549" rtl="0" eaLnBrk="1" latinLnBrk="0" hangingPunct="1">
        <a:lnSpc>
          <a:spcPct val="110000"/>
        </a:lnSpc>
        <a:spcBef>
          <a:spcPts val="242"/>
        </a:spcBef>
        <a:spcAft>
          <a:spcPts val="242"/>
        </a:spcAft>
        <a:buFont typeface="Arial" pitchFamily="34" charset="0"/>
        <a:buChar char="•"/>
        <a:defRPr sz="1100" kern="1200">
          <a:solidFill>
            <a:schemeClr val="tx1"/>
          </a:solidFill>
          <a:latin typeface="+mn-lt"/>
          <a:ea typeface="+mn-ea"/>
          <a:cs typeface="+mn-cs"/>
        </a:defRPr>
      </a:lvl2pPr>
      <a:lvl3pPr marL="289980" indent="-144990" algn="l" defTabSz="736549" rtl="0" eaLnBrk="1" latinLnBrk="0" hangingPunct="1">
        <a:lnSpc>
          <a:spcPct val="110000"/>
        </a:lnSpc>
        <a:spcBef>
          <a:spcPts val="242"/>
        </a:spcBef>
        <a:spcAft>
          <a:spcPts val="242"/>
        </a:spcAft>
        <a:buFont typeface="Arial" pitchFamily="34" charset="0"/>
        <a:buChar char="•"/>
        <a:defRPr sz="1100" kern="1200">
          <a:solidFill>
            <a:schemeClr val="tx1"/>
          </a:solidFill>
          <a:latin typeface="+mn-lt"/>
          <a:ea typeface="+mn-ea"/>
          <a:cs typeface="+mn-cs"/>
        </a:defRPr>
      </a:lvl3pPr>
      <a:lvl4pPr marL="434769" indent="-144990" algn="l" defTabSz="736549" rtl="0" eaLnBrk="1" latinLnBrk="0" hangingPunct="1">
        <a:lnSpc>
          <a:spcPct val="110000"/>
        </a:lnSpc>
        <a:spcBef>
          <a:spcPts val="242"/>
        </a:spcBef>
        <a:spcAft>
          <a:spcPts val="242"/>
        </a:spcAft>
        <a:buFont typeface="Arial" pitchFamily="34" charset="0"/>
        <a:buChar char="•"/>
        <a:defRPr sz="1100" kern="1200">
          <a:solidFill>
            <a:schemeClr val="tx1"/>
          </a:solidFill>
          <a:latin typeface="+mn-lt"/>
          <a:ea typeface="+mn-ea"/>
          <a:cs typeface="+mn-cs"/>
        </a:defRPr>
      </a:lvl4pPr>
      <a:lvl5pPr marL="579960" indent="-144990" algn="l" defTabSz="736549" rtl="0" eaLnBrk="1" latinLnBrk="0" hangingPunct="1">
        <a:lnSpc>
          <a:spcPct val="110000"/>
        </a:lnSpc>
        <a:spcBef>
          <a:spcPts val="242"/>
        </a:spcBef>
        <a:spcAft>
          <a:spcPts val="242"/>
        </a:spcAft>
        <a:buFont typeface="Arial" pitchFamily="34" charset="0"/>
        <a:buChar char="•"/>
        <a:defRPr sz="1100" kern="1200">
          <a:solidFill>
            <a:schemeClr val="tx1"/>
          </a:solidFill>
          <a:latin typeface="+mn-lt"/>
          <a:ea typeface="+mn-ea"/>
          <a:cs typeface="+mn-cs"/>
        </a:defRPr>
      </a:lvl5pPr>
      <a:lvl6pPr marL="579960" indent="-144990" algn="l" defTabSz="736549" rtl="0" eaLnBrk="1" latinLnBrk="0" hangingPunct="1">
        <a:lnSpc>
          <a:spcPct val="110000"/>
        </a:lnSpc>
        <a:spcBef>
          <a:spcPts val="242"/>
        </a:spcBef>
        <a:spcAft>
          <a:spcPts val="242"/>
        </a:spcAft>
        <a:buFont typeface="Arial" pitchFamily="34" charset="0"/>
        <a:buChar char="•"/>
        <a:defRPr sz="1100" kern="1200">
          <a:solidFill>
            <a:schemeClr val="tx1"/>
          </a:solidFill>
          <a:latin typeface="+mn-lt"/>
          <a:ea typeface="+mn-ea"/>
          <a:cs typeface="+mn-cs"/>
        </a:defRPr>
      </a:lvl6pPr>
      <a:lvl7pPr marL="579960" indent="-144990" algn="l" defTabSz="736549" rtl="0" eaLnBrk="1" latinLnBrk="0" hangingPunct="1">
        <a:lnSpc>
          <a:spcPct val="110000"/>
        </a:lnSpc>
        <a:spcBef>
          <a:spcPts val="242"/>
        </a:spcBef>
        <a:spcAft>
          <a:spcPts val="242"/>
        </a:spcAft>
        <a:buFont typeface="Arial" pitchFamily="34" charset="0"/>
        <a:buChar char="•"/>
        <a:defRPr sz="1100" kern="1200">
          <a:solidFill>
            <a:schemeClr val="tx1"/>
          </a:solidFill>
          <a:latin typeface="+mn-lt"/>
          <a:ea typeface="+mn-ea"/>
          <a:cs typeface="+mn-cs"/>
        </a:defRPr>
      </a:lvl7pPr>
      <a:lvl8pPr marL="579960" indent="-144990" algn="l" defTabSz="736549" rtl="0" eaLnBrk="1" latinLnBrk="0" hangingPunct="1">
        <a:lnSpc>
          <a:spcPct val="110000"/>
        </a:lnSpc>
        <a:spcBef>
          <a:spcPts val="242"/>
        </a:spcBef>
        <a:spcAft>
          <a:spcPts val="242"/>
        </a:spcAft>
        <a:buFont typeface="Arial" pitchFamily="34" charset="0"/>
        <a:buChar char="•"/>
        <a:defRPr sz="1100" kern="1200">
          <a:solidFill>
            <a:schemeClr val="tx1"/>
          </a:solidFill>
          <a:latin typeface="+mn-lt"/>
          <a:ea typeface="+mn-ea"/>
          <a:cs typeface="+mn-cs"/>
        </a:defRPr>
      </a:lvl8pPr>
      <a:lvl9pPr marL="579960" indent="-144990" algn="l" defTabSz="736549" rtl="0" eaLnBrk="1" latinLnBrk="0" hangingPunct="1">
        <a:lnSpc>
          <a:spcPct val="110000"/>
        </a:lnSpc>
        <a:spcBef>
          <a:spcPts val="242"/>
        </a:spcBef>
        <a:spcAft>
          <a:spcPts val="242"/>
        </a:spcAft>
        <a:buFont typeface="Arial" pitchFamily="34" charset="0"/>
        <a:buChar char="•"/>
        <a:defRPr sz="11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736549" rtl="0" eaLnBrk="1" latinLnBrk="0" hangingPunct="1">
        <a:defRPr sz="1100" kern="1200">
          <a:solidFill>
            <a:schemeClr val="tx1"/>
          </a:solidFill>
          <a:latin typeface="+mn-lt"/>
          <a:ea typeface="+mn-ea"/>
          <a:cs typeface="+mn-cs"/>
        </a:defRPr>
      </a:lvl1pPr>
      <a:lvl2pPr marL="368275" algn="l" defTabSz="736549" rtl="0" eaLnBrk="1" latinLnBrk="0" hangingPunct="1">
        <a:defRPr sz="1100" kern="1200">
          <a:solidFill>
            <a:schemeClr val="tx1"/>
          </a:solidFill>
          <a:latin typeface="+mn-lt"/>
          <a:ea typeface="+mn-ea"/>
          <a:cs typeface="+mn-cs"/>
        </a:defRPr>
      </a:lvl2pPr>
      <a:lvl3pPr marL="736549" algn="l" defTabSz="736549" rtl="0" eaLnBrk="1" latinLnBrk="0" hangingPunct="1">
        <a:defRPr sz="1100" kern="1200">
          <a:solidFill>
            <a:schemeClr val="tx1"/>
          </a:solidFill>
          <a:latin typeface="+mn-lt"/>
          <a:ea typeface="+mn-ea"/>
          <a:cs typeface="+mn-cs"/>
        </a:defRPr>
      </a:lvl3pPr>
      <a:lvl4pPr marL="1104824" algn="l" defTabSz="736549" rtl="0" eaLnBrk="1" latinLnBrk="0" hangingPunct="1">
        <a:defRPr sz="1100" kern="1200">
          <a:solidFill>
            <a:schemeClr val="tx1"/>
          </a:solidFill>
          <a:latin typeface="+mn-lt"/>
          <a:ea typeface="+mn-ea"/>
          <a:cs typeface="+mn-cs"/>
        </a:defRPr>
      </a:lvl4pPr>
      <a:lvl5pPr marL="1473098" algn="l" defTabSz="736549" rtl="0" eaLnBrk="1" latinLnBrk="0" hangingPunct="1">
        <a:defRPr sz="1100" kern="1200">
          <a:solidFill>
            <a:schemeClr val="tx1"/>
          </a:solidFill>
          <a:latin typeface="+mn-lt"/>
          <a:ea typeface="+mn-ea"/>
          <a:cs typeface="+mn-cs"/>
        </a:defRPr>
      </a:lvl5pPr>
      <a:lvl6pPr marL="1841373" algn="l" defTabSz="736549" rtl="0" eaLnBrk="1" latinLnBrk="0" hangingPunct="1">
        <a:defRPr sz="1100" kern="1200">
          <a:solidFill>
            <a:schemeClr val="tx1"/>
          </a:solidFill>
          <a:latin typeface="+mn-lt"/>
          <a:ea typeface="+mn-ea"/>
          <a:cs typeface="+mn-cs"/>
        </a:defRPr>
      </a:lvl6pPr>
      <a:lvl7pPr marL="2209648" algn="l" defTabSz="736549" rtl="0" eaLnBrk="1" latinLnBrk="0" hangingPunct="1">
        <a:defRPr sz="1100" kern="1200">
          <a:solidFill>
            <a:schemeClr val="tx1"/>
          </a:solidFill>
          <a:latin typeface="+mn-lt"/>
          <a:ea typeface="+mn-ea"/>
          <a:cs typeface="+mn-cs"/>
        </a:defRPr>
      </a:lvl7pPr>
      <a:lvl8pPr marL="2577922" algn="l" defTabSz="736549" rtl="0" eaLnBrk="1" latinLnBrk="0" hangingPunct="1">
        <a:defRPr sz="1100" kern="1200">
          <a:solidFill>
            <a:schemeClr val="tx1"/>
          </a:solidFill>
          <a:latin typeface="+mn-lt"/>
          <a:ea typeface="+mn-ea"/>
          <a:cs typeface="+mn-cs"/>
        </a:defRPr>
      </a:lvl8pPr>
      <a:lvl9pPr marL="2946197" algn="l" defTabSz="736549" rtl="0" eaLnBrk="1" latinLnBrk="0" hangingPunct="1">
        <a:defRPr sz="11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3.png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1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.bin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18.xml"/><Relationship Id="rId1" Type="http://schemas.openxmlformats.org/officeDocument/2006/relationships/vmlDrawing" Target="../drawings/vmlDrawing1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.bin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8.bin"/><Relationship Id="rId4" Type="http://schemas.openxmlformats.org/officeDocument/2006/relationships/image" Target="../media/image15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9.bin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21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1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0.bin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22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1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1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4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5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8.png"/><Relationship Id="rId12" Type="http://schemas.microsoft.com/office/2007/relationships/hdphoto" Target="../media/hdphoto1.wdp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7.png"/><Relationship Id="rId11" Type="http://schemas.openxmlformats.org/officeDocument/2006/relationships/image" Target="../media/image11.png"/><Relationship Id="rId5" Type="http://schemas.openxmlformats.org/officeDocument/2006/relationships/image" Target="../media/image1.emf"/><Relationship Id="rId10" Type="http://schemas.openxmlformats.org/officeDocument/2006/relationships/image" Target="../media/image10.png"/><Relationship Id="rId4" Type="http://schemas.openxmlformats.org/officeDocument/2006/relationships/oleObject" Target="../embeddings/oleObject11.bin"/><Relationship Id="rId9" Type="http://schemas.openxmlformats.org/officeDocument/2006/relationships/image" Target="../media/image9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4.vml"/><Relationship Id="rId6" Type="http://schemas.openxmlformats.org/officeDocument/2006/relationships/chart" Target="../charts/chart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16.xml"/><Relationship Id="rId1" Type="http://schemas.openxmlformats.org/officeDocument/2006/relationships/vmlDrawing" Target="../drawings/vmlDrawing1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7757633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64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el 4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DE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LSC - Live Support Chat</a:t>
            </a:r>
            <a:endParaRPr lang="de-DE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6" name="Untertitel 5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de-DE" dirty="0"/>
              <a:t>v</a:t>
            </a:r>
            <a:r>
              <a:rPr lang="de-DE" dirty="0" smtClean="0"/>
              <a:t>on Niklas Grieger</a:t>
            </a:r>
            <a:endParaRPr lang="de-DE" dirty="0"/>
          </a:p>
        </p:txBody>
      </p:sp>
      <p:pic>
        <p:nvPicPr>
          <p:cNvPr id="7178" name="Picture 10" descr="U:\Projektarbeit\Präsentation\img\ChatGuy.png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80431" y="3197811"/>
            <a:ext cx="1152128" cy="11521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518564243"/>
      </p:ext>
    </p:extLst>
  </p:cSld>
  <p:clrMapOvr>
    <a:masterClrMapping/>
  </p:clrMapOvr>
  <p:transition spd="med">
    <p:wipe/>
  </p:transition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1597269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94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de-DE" sz="2000" b="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Nutzen</a:t>
            </a:r>
            <a:endParaRPr lang="de-DE" sz="2000" b="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6" name="Inhaltsplatzhalter 5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de-DE" b="1" u="sng" dirty="0" smtClean="0">
                <a:solidFill>
                  <a:schemeClr val="tx2"/>
                </a:solidFill>
              </a:rPr>
              <a:t>Agenda: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Vorstellung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Thematik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tx2"/>
                </a:solidFill>
              </a:rPr>
              <a:t>Analyse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accent2"/>
                </a:solidFill>
              </a:rPr>
              <a:t>Entwurf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accent2"/>
                </a:solidFill>
              </a:rPr>
              <a:t>Implementierung</a:t>
            </a:r>
            <a:endParaRPr lang="de-DE" dirty="0" smtClean="0">
              <a:solidFill>
                <a:schemeClr val="accent2"/>
              </a:solidFill>
            </a:endParaRP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accent2"/>
                </a:solidFill>
              </a:rPr>
              <a:t>Fazit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accent2"/>
                </a:solidFill>
              </a:rPr>
              <a:t>Ende</a:t>
            </a:r>
            <a:endParaRPr lang="de-DE" dirty="0">
              <a:solidFill>
                <a:schemeClr val="accent2"/>
              </a:solidFill>
            </a:endParaRP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5A607C75-7E5E-49DD-BFE0-283F617009BA}" type="datetime1">
              <a:rPr lang="de-DE" noProof="0" smtClean="0"/>
              <a:t>08.06.2017</a:t>
            </a:fld>
            <a:endParaRPr lang="de-DE" noProof="0" dirty="0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 noProof="0" dirty="0" smtClean="0"/>
              <a:t>LSC - Live Support Chat</a:t>
            </a:r>
            <a:endParaRPr lang="de-DE" noProof="0" dirty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D7FBF016-173F-4D13-AB5B-81861F2E6151}" type="slidenum">
              <a:rPr lang="de-DE" noProof="0" smtClean="0"/>
              <a:pPr/>
              <a:t>10</a:t>
            </a:fld>
            <a:endParaRPr lang="de-DE" noProof="0" dirty="0"/>
          </a:p>
        </p:txBody>
      </p:sp>
      <p:sp>
        <p:nvSpPr>
          <p:cNvPr id="5" name="Inhaltsplatzhalter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e-DE" dirty="0" smtClean="0"/>
          </a:p>
          <a:p>
            <a:pPr marL="171450" indent="-171450" algn="ctr">
              <a:buFont typeface="Arial" pitchFamily="34" charset="0"/>
              <a:buChar char="•"/>
            </a:pPr>
            <a:r>
              <a:rPr lang="de-DE" dirty="0" smtClean="0">
                <a:solidFill>
                  <a:schemeClr val="tx2"/>
                </a:solidFill>
              </a:rPr>
              <a:t>Zeitersparnis</a:t>
            </a:r>
          </a:p>
          <a:p>
            <a:pPr marL="171450" indent="-171450" algn="ctr">
              <a:buFont typeface="Arial" pitchFamily="34" charset="0"/>
              <a:buChar char="•"/>
            </a:pPr>
            <a:endParaRPr lang="de-DE" dirty="0" smtClean="0">
              <a:solidFill>
                <a:schemeClr val="tx2"/>
              </a:solidFill>
            </a:endParaRPr>
          </a:p>
          <a:p>
            <a:pPr marL="171450" indent="-171450" algn="ctr">
              <a:buFont typeface="Arial" pitchFamily="34" charset="0"/>
              <a:buChar char="•"/>
            </a:pPr>
            <a:r>
              <a:rPr lang="de-DE" dirty="0" smtClean="0">
                <a:solidFill>
                  <a:schemeClr val="tx2"/>
                </a:solidFill>
              </a:rPr>
              <a:t>Effizienteres Arbeiten für den Fachbereich</a:t>
            </a:r>
          </a:p>
          <a:p>
            <a:pPr marL="171450" indent="-171450" algn="ctr">
              <a:buFont typeface="Arial" pitchFamily="34" charset="0"/>
              <a:buChar char="•"/>
            </a:pPr>
            <a:endParaRPr lang="de-DE" dirty="0" smtClean="0">
              <a:solidFill>
                <a:schemeClr val="tx2"/>
              </a:solidFill>
            </a:endParaRPr>
          </a:p>
          <a:p>
            <a:pPr marL="171450" indent="-171450" algn="ctr">
              <a:buFont typeface="Arial" pitchFamily="34" charset="0"/>
              <a:buChar char="•"/>
            </a:pPr>
            <a:r>
              <a:rPr lang="de-DE" dirty="0" smtClean="0">
                <a:solidFill>
                  <a:schemeClr val="tx2"/>
                </a:solidFill>
              </a:rPr>
              <a:t>Keine Lizenzkosten, da keine eingekaufte Lösung</a:t>
            </a:r>
            <a:endParaRPr lang="de-DE" dirty="0">
              <a:solidFill>
                <a:schemeClr val="tx2"/>
              </a:solidFill>
            </a:endParaRPr>
          </a:p>
        </p:txBody>
      </p:sp>
      <p:pic>
        <p:nvPicPr>
          <p:cNvPr id="17413" name="Picture 5" descr="U:\Projektarbeit\Präsentation\img\KostenNutzer.pn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20391" y="2520603"/>
            <a:ext cx="3191425" cy="22590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50974239"/>
      </p:ext>
    </p:extLst>
  </p:cSld>
  <p:clrMapOvr>
    <a:masterClrMapping/>
  </p:clrMapOvr>
  <p:transition spd="med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6" dur="2000" fill="hold"/>
                                        <p:tgtEl>
                                          <p:spTgt spid="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" dur="500" fill="hold"/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8" dur="500" fill="hold"/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500" fill="hold"/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5" dur="500" fill="hold"/>
                                        <p:tgtEl>
                                          <p:spTgt spid="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500" fill="hold"/>
                                        <p:tgtEl>
                                          <p:spTgt spid="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build="p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6777615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81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de-DE" sz="2000" b="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Verwendete Sprachen</a:t>
            </a:r>
            <a:endParaRPr lang="de-DE" sz="2000" b="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6" name="Inhaltsplatzhalter 5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de-DE" b="1" u="sng" dirty="0" smtClean="0">
                <a:solidFill>
                  <a:schemeClr val="tx2"/>
                </a:solidFill>
              </a:rPr>
              <a:t>Agenda: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Vorstellung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Thematik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Analyse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tx2"/>
                </a:solidFill>
              </a:rPr>
              <a:t>Entwurf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accent2"/>
                </a:solidFill>
              </a:rPr>
              <a:t>Implementierung</a:t>
            </a:r>
            <a:endParaRPr lang="de-DE" dirty="0" smtClean="0">
              <a:solidFill>
                <a:schemeClr val="accent2"/>
              </a:solidFill>
            </a:endParaRP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accent2"/>
                </a:solidFill>
              </a:rPr>
              <a:t>Fazit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accent2"/>
                </a:solidFill>
              </a:rPr>
              <a:t>Ende</a:t>
            </a:r>
            <a:endParaRPr lang="de-DE" dirty="0">
              <a:solidFill>
                <a:schemeClr val="accent2"/>
              </a:solidFill>
            </a:endParaRP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5A607C75-7E5E-49DD-BFE0-283F617009BA}" type="datetime1">
              <a:rPr lang="de-DE" noProof="0" smtClean="0"/>
              <a:t>08.06.2017</a:t>
            </a:fld>
            <a:endParaRPr lang="de-DE" noProof="0" dirty="0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 noProof="0" dirty="0" smtClean="0"/>
              <a:t>LSC - Live Support Chat</a:t>
            </a:r>
            <a:endParaRPr lang="de-DE" noProof="0" dirty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D7FBF016-173F-4D13-AB5B-81861F2E6151}" type="slidenum">
              <a:rPr lang="de-DE" noProof="0" smtClean="0"/>
              <a:pPr/>
              <a:t>11</a:t>
            </a:fld>
            <a:endParaRPr lang="de-DE" noProof="0" dirty="0"/>
          </a:p>
        </p:txBody>
      </p:sp>
      <p:sp>
        <p:nvSpPr>
          <p:cNvPr id="10" name="Raute 9"/>
          <p:cNvSpPr/>
          <p:nvPr/>
        </p:nvSpPr>
        <p:spPr>
          <a:xfrm>
            <a:off x="935832" y="1008063"/>
            <a:ext cx="3887787" cy="3887787"/>
          </a:xfrm>
          <a:prstGeom prst="diamond">
            <a:avLst/>
          </a:prstGeom>
        </p:spPr>
        <p:style>
          <a:lnRef idx="0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accent1">
              <a:tint val="4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tint val="4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</p:sp>
      <p:grpSp>
        <p:nvGrpSpPr>
          <p:cNvPr id="16" name="Gruppieren 15"/>
          <p:cNvGrpSpPr/>
          <p:nvPr/>
        </p:nvGrpSpPr>
        <p:grpSpPr>
          <a:xfrm>
            <a:off x="1305171" y="1377402"/>
            <a:ext cx="1516236" cy="3149107"/>
            <a:chOff x="1305171" y="1377402"/>
            <a:chExt cx="1516236" cy="3149107"/>
          </a:xfrm>
        </p:grpSpPr>
        <p:sp>
          <p:nvSpPr>
            <p:cNvPr id="11" name="Freihandform 10"/>
            <p:cNvSpPr/>
            <p:nvPr/>
          </p:nvSpPr>
          <p:spPr>
            <a:xfrm>
              <a:off x="1305171" y="1377402"/>
              <a:ext cx="1516236" cy="1516236"/>
            </a:xfrm>
            <a:custGeom>
              <a:avLst/>
              <a:gdLst>
                <a:gd name="connsiteX0" fmla="*/ 0 w 1516236"/>
                <a:gd name="connsiteY0" fmla="*/ 252711 h 1516236"/>
                <a:gd name="connsiteX1" fmla="*/ 252711 w 1516236"/>
                <a:gd name="connsiteY1" fmla="*/ 0 h 1516236"/>
                <a:gd name="connsiteX2" fmla="*/ 1263525 w 1516236"/>
                <a:gd name="connsiteY2" fmla="*/ 0 h 1516236"/>
                <a:gd name="connsiteX3" fmla="*/ 1516236 w 1516236"/>
                <a:gd name="connsiteY3" fmla="*/ 252711 h 1516236"/>
                <a:gd name="connsiteX4" fmla="*/ 1516236 w 1516236"/>
                <a:gd name="connsiteY4" fmla="*/ 1263525 h 1516236"/>
                <a:gd name="connsiteX5" fmla="*/ 1263525 w 1516236"/>
                <a:gd name="connsiteY5" fmla="*/ 1516236 h 1516236"/>
                <a:gd name="connsiteX6" fmla="*/ 252711 w 1516236"/>
                <a:gd name="connsiteY6" fmla="*/ 1516236 h 1516236"/>
                <a:gd name="connsiteX7" fmla="*/ 0 w 1516236"/>
                <a:gd name="connsiteY7" fmla="*/ 1263525 h 1516236"/>
                <a:gd name="connsiteX8" fmla="*/ 0 w 1516236"/>
                <a:gd name="connsiteY8" fmla="*/ 252711 h 1516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516236" h="1516236">
                  <a:moveTo>
                    <a:pt x="0" y="252711"/>
                  </a:moveTo>
                  <a:cubicBezTo>
                    <a:pt x="0" y="113143"/>
                    <a:pt x="113143" y="0"/>
                    <a:pt x="252711" y="0"/>
                  </a:cubicBezTo>
                  <a:lnTo>
                    <a:pt x="1263525" y="0"/>
                  </a:lnTo>
                  <a:cubicBezTo>
                    <a:pt x="1403093" y="0"/>
                    <a:pt x="1516236" y="113143"/>
                    <a:pt x="1516236" y="252711"/>
                  </a:cubicBezTo>
                  <a:lnTo>
                    <a:pt x="1516236" y="1263525"/>
                  </a:lnTo>
                  <a:cubicBezTo>
                    <a:pt x="1516236" y="1403093"/>
                    <a:pt x="1403093" y="1516236"/>
                    <a:pt x="1263525" y="1516236"/>
                  </a:cubicBezTo>
                  <a:lnTo>
                    <a:pt x="252711" y="1516236"/>
                  </a:lnTo>
                  <a:cubicBezTo>
                    <a:pt x="113143" y="1516236"/>
                    <a:pt x="0" y="1403093"/>
                    <a:pt x="0" y="1263525"/>
                  </a:cubicBezTo>
                  <a:lnTo>
                    <a:pt x="0" y="252711"/>
                  </a:lnTo>
                  <a:close/>
                </a:path>
              </a:pathLst>
            </a:custGeom>
            <a:effectLst>
              <a:reflection stA="45000" endPos="1000" dist="50800" dir="5400000" sy="-100000" algn="bl" rotWithShape="0"/>
            </a:effectLst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108307" tIns="108307" rIns="108307" bIns="108307" numCol="1" spcCol="1270" anchor="t" anchorCtr="0">
              <a:noAutofit/>
            </a:bodyPr>
            <a:lstStyle/>
            <a:p>
              <a:pPr lvl="0" algn="l" defTabSz="400050" rtl="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de-DE" sz="900" kern="1200" dirty="0" smtClean="0"/>
                <a:t>Serversprache</a:t>
              </a:r>
              <a:endParaRPr lang="de-DE" sz="900" kern="1200" dirty="0"/>
            </a:p>
            <a:p>
              <a:pPr marL="57150" lvl="1" indent="-57150" algn="l" defTabSz="311150" rtl="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•"/>
              </a:pPr>
              <a:r>
                <a:rPr lang="de-DE" sz="700" kern="1200" dirty="0" smtClean="0"/>
                <a:t>C#</a:t>
              </a:r>
              <a:endParaRPr lang="de-DE" sz="700" kern="1200" dirty="0"/>
            </a:p>
          </p:txBody>
        </p:sp>
        <p:sp>
          <p:nvSpPr>
            <p:cNvPr id="13" name="Freihandform 12"/>
            <p:cNvSpPr/>
            <p:nvPr/>
          </p:nvSpPr>
          <p:spPr>
            <a:xfrm>
              <a:off x="1305171" y="3010273"/>
              <a:ext cx="1516236" cy="1516236"/>
            </a:xfrm>
            <a:custGeom>
              <a:avLst/>
              <a:gdLst>
                <a:gd name="connsiteX0" fmla="*/ 0 w 1516236"/>
                <a:gd name="connsiteY0" fmla="*/ 252711 h 1516236"/>
                <a:gd name="connsiteX1" fmla="*/ 252711 w 1516236"/>
                <a:gd name="connsiteY1" fmla="*/ 0 h 1516236"/>
                <a:gd name="connsiteX2" fmla="*/ 1263525 w 1516236"/>
                <a:gd name="connsiteY2" fmla="*/ 0 h 1516236"/>
                <a:gd name="connsiteX3" fmla="*/ 1516236 w 1516236"/>
                <a:gd name="connsiteY3" fmla="*/ 252711 h 1516236"/>
                <a:gd name="connsiteX4" fmla="*/ 1516236 w 1516236"/>
                <a:gd name="connsiteY4" fmla="*/ 1263525 h 1516236"/>
                <a:gd name="connsiteX5" fmla="*/ 1263525 w 1516236"/>
                <a:gd name="connsiteY5" fmla="*/ 1516236 h 1516236"/>
                <a:gd name="connsiteX6" fmla="*/ 252711 w 1516236"/>
                <a:gd name="connsiteY6" fmla="*/ 1516236 h 1516236"/>
                <a:gd name="connsiteX7" fmla="*/ 0 w 1516236"/>
                <a:gd name="connsiteY7" fmla="*/ 1263525 h 1516236"/>
                <a:gd name="connsiteX8" fmla="*/ 0 w 1516236"/>
                <a:gd name="connsiteY8" fmla="*/ 252711 h 1516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516236" h="1516236">
                  <a:moveTo>
                    <a:pt x="0" y="252711"/>
                  </a:moveTo>
                  <a:cubicBezTo>
                    <a:pt x="0" y="113143"/>
                    <a:pt x="113143" y="0"/>
                    <a:pt x="252711" y="0"/>
                  </a:cubicBezTo>
                  <a:lnTo>
                    <a:pt x="1263525" y="0"/>
                  </a:lnTo>
                  <a:cubicBezTo>
                    <a:pt x="1403093" y="0"/>
                    <a:pt x="1516236" y="113143"/>
                    <a:pt x="1516236" y="252711"/>
                  </a:cubicBezTo>
                  <a:lnTo>
                    <a:pt x="1516236" y="1263525"/>
                  </a:lnTo>
                  <a:cubicBezTo>
                    <a:pt x="1516236" y="1403093"/>
                    <a:pt x="1403093" y="1516236"/>
                    <a:pt x="1263525" y="1516236"/>
                  </a:cubicBezTo>
                  <a:lnTo>
                    <a:pt x="252711" y="1516236"/>
                  </a:lnTo>
                  <a:cubicBezTo>
                    <a:pt x="113143" y="1516236"/>
                    <a:pt x="0" y="1403093"/>
                    <a:pt x="0" y="1263525"/>
                  </a:cubicBezTo>
                  <a:lnTo>
                    <a:pt x="0" y="252711"/>
                  </a:lnTo>
                  <a:close/>
                </a:path>
              </a:pathLst>
            </a:cu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08307" tIns="108307" rIns="108307" bIns="108307" numCol="1" spcCol="1270" anchor="t" anchorCtr="0">
              <a:noAutofit/>
            </a:bodyPr>
            <a:lstStyle/>
            <a:p>
              <a:pPr lvl="0" algn="l" defTabSz="4000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de-DE" sz="900" kern="1200" dirty="0" smtClean="0"/>
                <a:t>Frameworks/Bibliotheken</a:t>
              </a:r>
              <a:endParaRPr lang="de-DE" sz="900" kern="1200" dirty="0"/>
            </a:p>
            <a:p>
              <a:pPr marL="57150" lvl="1" indent="-57150" algn="l" defTabSz="311150" rtl="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•"/>
              </a:pPr>
              <a:r>
                <a:rPr lang="de-DE" sz="700" kern="1200" dirty="0" smtClean="0"/>
                <a:t>ASP.NET MVC</a:t>
              </a:r>
              <a:endParaRPr lang="de-DE" sz="700" kern="1200" dirty="0"/>
            </a:p>
            <a:p>
              <a:pPr marL="57150" lvl="1" indent="-57150" algn="l" defTabSz="311150" rtl="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•"/>
              </a:pPr>
              <a:r>
                <a:rPr lang="de-DE" sz="700" kern="1200" dirty="0" smtClean="0"/>
                <a:t>SignalR</a:t>
              </a:r>
              <a:endParaRPr lang="de-DE" sz="700" kern="1200" dirty="0"/>
            </a:p>
            <a:p>
              <a:pPr marL="57150" lvl="1" indent="-57150" algn="l" defTabSz="311150" rtl="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•"/>
              </a:pPr>
              <a:r>
                <a:rPr lang="de-DE" sz="700" kern="1200" dirty="0" err="1" smtClean="0"/>
                <a:t>Entity</a:t>
              </a:r>
              <a:r>
                <a:rPr lang="de-DE" sz="700" kern="1200" dirty="0" smtClean="0"/>
                <a:t> Framework</a:t>
              </a:r>
            </a:p>
          </p:txBody>
        </p:sp>
      </p:grpSp>
      <p:grpSp>
        <p:nvGrpSpPr>
          <p:cNvPr id="17" name="Gruppieren 16"/>
          <p:cNvGrpSpPr/>
          <p:nvPr/>
        </p:nvGrpSpPr>
        <p:grpSpPr>
          <a:xfrm>
            <a:off x="2938042" y="1377402"/>
            <a:ext cx="1516236" cy="3149107"/>
            <a:chOff x="2938042" y="1377402"/>
            <a:chExt cx="1516236" cy="3149107"/>
          </a:xfrm>
        </p:grpSpPr>
        <p:sp>
          <p:nvSpPr>
            <p:cNvPr id="12" name="Freihandform 11"/>
            <p:cNvSpPr/>
            <p:nvPr/>
          </p:nvSpPr>
          <p:spPr>
            <a:xfrm>
              <a:off x="2938042" y="1377402"/>
              <a:ext cx="1516236" cy="1516236"/>
            </a:xfrm>
            <a:custGeom>
              <a:avLst/>
              <a:gdLst>
                <a:gd name="connsiteX0" fmla="*/ 0 w 1516236"/>
                <a:gd name="connsiteY0" fmla="*/ 252711 h 1516236"/>
                <a:gd name="connsiteX1" fmla="*/ 252711 w 1516236"/>
                <a:gd name="connsiteY1" fmla="*/ 0 h 1516236"/>
                <a:gd name="connsiteX2" fmla="*/ 1263525 w 1516236"/>
                <a:gd name="connsiteY2" fmla="*/ 0 h 1516236"/>
                <a:gd name="connsiteX3" fmla="*/ 1516236 w 1516236"/>
                <a:gd name="connsiteY3" fmla="*/ 252711 h 1516236"/>
                <a:gd name="connsiteX4" fmla="*/ 1516236 w 1516236"/>
                <a:gd name="connsiteY4" fmla="*/ 1263525 h 1516236"/>
                <a:gd name="connsiteX5" fmla="*/ 1263525 w 1516236"/>
                <a:gd name="connsiteY5" fmla="*/ 1516236 h 1516236"/>
                <a:gd name="connsiteX6" fmla="*/ 252711 w 1516236"/>
                <a:gd name="connsiteY6" fmla="*/ 1516236 h 1516236"/>
                <a:gd name="connsiteX7" fmla="*/ 0 w 1516236"/>
                <a:gd name="connsiteY7" fmla="*/ 1263525 h 1516236"/>
                <a:gd name="connsiteX8" fmla="*/ 0 w 1516236"/>
                <a:gd name="connsiteY8" fmla="*/ 252711 h 1516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516236" h="1516236">
                  <a:moveTo>
                    <a:pt x="0" y="252711"/>
                  </a:moveTo>
                  <a:cubicBezTo>
                    <a:pt x="0" y="113143"/>
                    <a:pt x="113143" y="0"/>
                    <a:pt x="252711" y="0"/>
                  </a:cubicBezTo>
                  <a:lnTo>
                    <a:pt x="1263525" y="0"/>
                  </a:lnTo>
                  <a:cubicBezTo>
                    <a:pt x="1403093" y="0"/>
                    <a:pt x="1516236" y="113143"/>
                    <a:pt x="1516236" y="252711"/>
                  </a:cubicBezTo>
                  <a:lnTo>
                    <a:pt x="1516236" y="1263525"/>
                  </a:lnTo>
                  <a:cubicBezTo>
                    <a:pt x="1516236" y="1403093"/>
                    <a:pt x="1403093" y="1516236"/>
                    <a:pt x="1263525" y="1516236"/>
                  </a:cubicBezTo>
                  <a:lnTo>
                    <a:pt x="252711" y="1516236"/>
                  </a:lnTo>
                  <a:cubicBezTo>
                    <a:pt x="113143" y="1516236"/>
                    <a:pt x="0" y="1403093"/>
                    <a:pt x="0" y="1263525"/>
                  </a:cubicBezTo>
                  <a:lnTo>
                    <a:pt x="0" y="252711"/>
                  </a:lnTo>
                  <a:close/>
                </a:path>
              </a:pathLst>
            </a:cu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08307" tIns="108307" rIns="108307" bIns="108307" numCol="1" spcCol="1270" anchor="t" anchorCtr="0">
              <a:noAutofit/>
            </a:bodyPr>
            <a:lstStyle/>
            <a:p>
              <a:pPr lvl="0" algn="l" defTabSz="400050" rtl="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de-DE" sz="900" kern="1200" dirty="0" smtClean="0"/>
                <a:t>Client</a:t>
              </a:r>
              <a:endParaRPr lang="de-DE" sz="900" kern="1200" dirty="0"/>
            </a:p>
            <a:p>
              <a:pPr marL="57150" lvl="1" indent="-57150" algn="l" defTabSz="311150" rtl="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•"/>
              </a:pPr>
              <a:r>
                <a:rPr lang="de-DE" sz="700" b="0" kern="1200" dirty="0" smtClean="0"/>
                <a:t>HTML</a:t>
              </a:r>
              <a:endParaRPr lang="de-DE" sz="700" kern="1200" dirty="0"/>
            </a:p>
            <a:p>
              <a:pPr marL="57150" lvl="1" indent="-57150" algn="l" defTabSz="311150" rtl="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•"/>
              </a:pPr>
              <a:r>
                <a:rPr lang="de-DE" sz="700" b="0" kern="1200" dirty="0" smtClean="0"/>
                <a:t>CSS</a:t>
              </a:r>
              <a:endParaRPr lang="de-DE" sz="700" kern="1200" dirty="0"/>
            </a:p>
            <a:p>
              <a:pPr marL="57150" lvl="1" indent="-57150" algn="l" defTabSz="311150" rtl="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•"/>
              </a:pPr>
              <a:r>
                <a:rPr lang="de-DE" sz="700" b="0" kern="1200" dirty="0" smtClean="0"/>
                <a:t>JavaScript</a:t>
              </a:r>
            </a:p>
          </p:txBody>
        </p:sp>
        <p:sp>
          <p:nvSpPr>
            <p:cNvPr id="14" name="Freihandform 13"/>
            <p:cNvSpPr/>
            <p:nvPr/>
          </p:nvSpPr>
          <p:spPr>
            <a:xfrm>
              <a:off x="2938042" y="3010273"/>
              <a:ext cx="1516236" cy="1516236"/>
            </a:xfrm>
            <a:custGeom>
              <a:avLst/>
              <a:gdLst>
                <a:gd name="connsiteX0" fmla="*/ 0 w 1516236"/>
                <a:gd name="connsiteY0" fmla="*/ 252711 h 1516236"/>
                <a:gd name="connsiteX1" fmla="*/ 252711 w 1516236"/>
                <a:gd name="connsiteY1" fmla="*/ 0 h 1516236"/>
                <a:gd name="connsiteX2" fmla="*/ 1263525 w 1516236"/>
                <a:gd name="connsiteY2" fmla="*/ 0 h 1516236"/>
                <a:gd name="connsiteX3" fmla="*/ 1516236 w 1516236"/>
                <a:gd name="connsiteY3" fmla="*/ 252711 h 1516236"/>
                <a:gd name="connsiteX4" fmla="*/ 1516236 w 1516236"/>
                <a:gd name="connsiteY4" fmla="*/ 1263525 h 1516236"/>
                <a:gd name="connsiteX5" fmla="*/ 1263525 w 1516236"/>
                <a:gd name="connsiteY5" fmla="*/ 1516236 h 1516236"/>
                <a:gd name="connsiteX6" fmla="*/ 252711 w 1516236"/>
                <a:gd name="connsiteY6" fmla="*/ 1516236 h 1516236"/>
                <a:gd name="connsiteX7" fmla="*/ 0 w 1516236"/>
                <a:gd name="connsiteY7" fmla="*/ 1263525 h 1516236"/>
                <a:gd name="connsiteX8" fmla="*/ 0 w 1516236"/>
                <a:gd name="connsiteY8" fmla="*/ 252711 h 1516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516236" h="1516236">
                  <a:moveTo>
                    <a:pt x="0" y="252711"/>
                  </a:moveTo>
                  <a:cubicBezTo>
                    <a:pt x="0" y="113143"/>
                    <a:pt x="113143" y="0"/>
                    <a:pt x="252711" y="0"/>
                  </a:cubicBezTo>
                  <a:lnTo>
                    <a:pt x="1263525" y="0"/>
                  </a:lnTo>
                  <a:cubicBezTo>
                    <a:pt x="1403093" y="0"/>
                    <a:pt x="1516236" y="113143"/>
                    <a:pt x="1516236" y="252711"/>
                  </a:cubicBezTo>
                  <a:lnTo>
                    <a:pt x="1516236" y="1263525"/>
                  </a:lnTo>
                  <a:cubicBezTo>
                    <a:pt x="1516236" y="1403093"/>
                    <a:pt x="1403093" y="1516236"/>
                    <a:pt x="1263525" y="1516236"/>
                  </a:cubicBezTo>
                  <a:lnTo>
                    <a:pt x="252711" y="1516236"/>
                  </a:lnTo>
                  <a:cubicBezTo>
                    <a:pt x="113143" y="1516236"/>
                    <a:pt x="0" y="1403093"/>
                    <a:pt x="0" y="1263525"/>
                  </a:cubicBezTo>
                  <a:lnTo>
                    <a:pt x="0" y="252711"/>
                  </a:lnTo>
                  <a:close/>
                </a:path>
              </a:pathLst>
            </a:cu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08307" tIns="108307" rIns="108307" bIns="108307" numCol="1" spcCol="1270" anchor="t" anchorCtr="0">
              <a:noAutofit/>
            </a:bodyPr>
            <a:lstStyle/>
            <a:p>
              <a:pPr lvl="0" algn="l" defTabSz="4000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de-DE" sz="900" kern="1200" dirty="0" smtClean="0"/>
                <a:t>Frameworks/Bibliotheken</a:t>
              </a:r>
              <a:endParaRPr lang="de-DE" sz="900" kern="1200" dirty="0"/>
            </a:p>
            <a:p>
              <a:pPr marL="57150" lvl="1" indent="-57150" algn="l" defTabSz="31115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•"/>
              </a:pPr>
              <a:r>
                <a:rPr lang="de-DE" sz="700" b="0" kern="1200" dirty="0" err="1" smtClean="0"/>
                <a:t>JQuery</a:t>
              </a:r>
              <a:endParaRPr lang="de-DE" sz="700" kern="1200" dirty="0"/>
            </a:p>
            <a:p>
              <a:pPr marL="57150" lvl="1" indent="-57150" algn="l" defTabSz="31115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•"/>
              </a:pPr>
              <a:r>
                <a:rPr lang="de-DE" sz="700" b="0" kern="1200" smtClean="0"/>
                <a:t>KendoUI</a:t>
              </a:r>
              <a:endParaRPr lang="de-DE" sz="700" kern="1200" dirty="0"/>
            </a:p>
          </p:txBody>
        </p:sp>
      </p:grpSp>
    </p:spTree>
    <p:extLst>
      <p:ext uri="{BB962C8B-B14F-4D97-AF65-F5344CB8AC3E}">
        <p14:creationId xmlns:p14="http://schemas.microsoft.com/office/powerpoint/2010/main" val="1010636608"/>
      </p:ext>
    </p:extLst>
  </p:cSld>
  <p:clrMapOvr>
    <a:masterClrMapping/>
  </p:clrMapOvr>
  <p:transition spd="med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6" dur="2000" fill="hold"/>
                                        <p:tgtEl>
                                          <p:spTgt spid="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8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6627" name="Picture 3" descr="U:\Projektarbeit\img\Screenshots\Startseite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224" y="864419"/>
            <a:ext cx="5400600" cy="34563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0691922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37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de-DE" sz="2000" b="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creenshot</a:t>
            </a:r>
            <a:endParaRPr lang="de-DE" sz="2000" b="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6" name="Inhaltsplatzhalter 5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de-DE" b="1" u="sng" dirty="0" smtClean="0">
                <a:solidFill>
                  <a:schemeClr val="tx2"/>
                </a:solidFill>
              </a:rPr>
              <a:t>Agenda: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Vorstellung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Thematik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Analyse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Entwurf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tx2"/>
                </a:solidFill>
              </a:rPr>
              <a:t>Implementierung</a:t>
            </a:r>
            <a:endParaRPr lang="de-DE" dirty="0" smtClean="0">
              <a:solidFill>
                <a:schemeClr val="tx2"/>
              </a:solidFill>
            </a:endParaRP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accent2"/>
                </a:solidFill>
              </a:rPr>
              <a:t>Fazit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accent2"/>
                </a:solidFill>
              </a:rPr>
              <a:t>Ende</a:t>
            </a:r>
            <a:endParaRPr lang="de-DE" dirty="0">
              <a:solidFill>
                <a:schemeClr val="accent2"/>
              </a:solidFill>
            </a:endParaRP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5A607C75-7E5E-49DD-BFE0-283F617009BA}" type="datetime1">
              <a:rPr lang="de-DE" noProof="0" smtClean="0"/>
              <a:t>08.06.2017</a:t>
            </a:fld>
            <a:endParaRPr lang="de-DE" noProof="0" dirty="0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 noProof="0" dirty="0" smtClean="0"/>
              <a:t>LSC - Live Support Chat</a:t>
            </a:r>
            <a:endParaRPr lang="de-DE" noProof="0" dirty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D7FBF016-173F-4D13-AB5B-81861F2E6151}" type="slidenum">
              <a:rPr lang="de-DE" noProof="0" smtClean="0"/>
              <a:pPr/>
              <a:t>12</a:t>
            </a:fld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636098752"/>
      </p:ext>
    </p:extLst>
  </p:cSld>
  <p:clrMapOvr>
    <a:masterClrMapping/>
  </p:clrMapOvr>
  <p:transition spd="med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6" dur="2000" fill="hold"/>
                                        <p:tgtEl>
                                          <p:spTgt spid="6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6929716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64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de-DE" sz="2000" b="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icherheit</a:t>
            </a:r>
            <a:endParaRPr lang="de-DE" sz="2000" b="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6" name="Inhaltsplatzhalter 5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de-DE" b="1" u="sng" dirty="0" smtClean="0">
                <a:solidFill>
                  <a:schemeClr val="tx2"/>
                </a:solidFill>
              </a:rPr>
              <a:t>Agenda: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Vorstellung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Thematik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Analyse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Entwurf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tx2"/>
                </a:solidFill>
              </a:rPr>
              <a:t>Implementierung</a:t>
            </a:r>
            <a:endParaRPr lang="de-DE" dirty="0" smtClean="0">
              <a:solidFill>
                <a:schemeClr val="tx2"/>
              </a:solidFill>
            </a:endParaRP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accent2"/>
                </a:solidFill>
              </a:rPr>
              <a:t>Fazit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accent2"/>
                </a:solidFill>
              </a:rPr>
              <a:t>Ende</a:t>
            </a:r>
            <a:endParaRPr lang="de-DE" dirty="0">
              <a:solidFill>
                <a:schemeClr val="accent2"/>
              </a:solidFill>
            </a:endParaRP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5A607C75-7E5E-49DD-BFE0-283F617009BA}" type="datetime1">
              <a:rPr lang="de-DE" noProof="0" smtClean="0"/>
              <a:t>08.06.2017</a:t>
            </a:fld>
            <a:endParaRPr lang="de-DE" noProof="0" dirty="0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 noProof="0" dirty="0" smtClean="0"/>
              <a:t>LSC - Live Support Chat</a:t>
            </a:r>
            <a:endParaRPr lang="de-DE" noProof="0" dirty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D7FBF016-173F-4D13-AB5B-81861F2E6151}" type="slidenum">
              <a:rPr lang="de-DE" noProof="0" smtClean="0"/>
              <a:pPr/>
              <a:t>13</a:t>
            </a:fld>
            <a:endParaRPr lang="de-DE" noProof="0" dirty="0"/>
          </a:p>
        </p:txBody>
      </p:sp>
      <p:sp>
        <p:nvSpPr>
          <p:cNvPr id="19" name="Inhaltsplatzhalter 4"/>
          <p:cNvSpPr>
            <a:spLocks noGrp="1"/>
          </p:cNvSpPr>
          <p:nvPr>
            <p:ph idx="1"/>
          </p:nvPr>
        </p:nvSpPr>
        <p:spPr>
          <a:xfrm>
            <a:off x="179388" y="1008063"/>
            <a:ext cx="5400675" cy="3887787"/>
          </a:xfrm>
        </p:spPr>
        <p:txBody>
          <a:bodyPr/>
          <a:lstStyle/>
          <a:p>
            <a:endParaRPr lang="de-DE" dirty="0" smtClean="0"/>
          </a:p>
          <a:p>
            <a:pPr marL="171450" indent="-171450" algn="ctr">
              <a:buFont typeface="Arial" pitchFamily="34" charset="0"/>
              <a:buChar char="•"/>
            </a:pPr>
            <a:r>
              <a:rPr lang="de-DE" dirty="0" err="1" smtClean="0">
                <a:solidFill>
                  <a:schemeClr val="tx2"/>
                </a:solidFill>
              </a:rPr>
              <a:t>Autentifizierung</a:t>
            </a:r>
            <a:r>
              <a:rPr lang="de-DE" dirty="0" smtClean="0">
                <a:solidFill>
                  <a:schemeClr val="tx2"/>
                </a:solidFill>
              </a:rPr>
              <a:t> durch NT-User</a:t>
            </a:r>
          </a:p>
          <a:p>
            <a:pPr marL="171450" indent="-171450" algn="ctr">
              <a:buFont typeface="Arial" pitchFamily="34" charset="0"/>
              <a:buChar char="•"/>
            </a:pPr>
            <a:endParaRPr lang="de-DE" dirty="0">
              <a:solidFill>
                <a:schemeClr val="tx2"/>
              </a:solidFill>
            </a:endParaRPr>
          </a:p>
          <a:p>
            <a:pPr marL="171450" indent="-171450" algn="ctr">
              <a:buFont typeface="Arial" pitchFamily="34" charset="0"/>
              <a:buChar char="•"/>
            </a:pPr>
            <a:r>
              <a:rPr lang="de-DE" dirty="0" smtClean="0">
                <a:solidFill>
                  <a:schemeClr val="tx2"/>
                </a:solidFill>
              </a:rPr>
              <a:t>Verhinderung von Cross Site Scripting</a:t>
            </a:r>
          </a:p>
          <a:p>
            <a:pPr marL="171450" indent="-171450" algn="ctr">
              <a:buFont typeface="Arial" pitchFamily="34" charset="0"/>
              <a:buChar char="•"/>
            </a:pPr>
            <a:endParaRPr lang="de-DE" dirty="0">
              <a:solidFill>
                <a:schemeClr val="tx2"/>
              </a:solidFill>
            </a:endParaRPr>
          </a:p>
          <a:p>
            <a:pPr algn="ctr"/>
            <a:r>
              <a:rPr lang="de-DE" dirty="0" err="1" smtClean="0"/>
              <a:t>encodeURIComponent</a:t>
            </a:r>
            <a:r>
              <a:rPr lang="de-DE" dirty="0" smtClean="0"/>
              <a:t>(Message) </a:t>
            </a:r>
          </a:p>
          <a:p>
            <a:r>
              <a:rPr lang="de-DE" dirty="0" smtClean="0">
                <a:solidFill>
                  <a:schemeClr val="tx2"/>
                </a:solidFill>
              </a:rPr>
              <a:t>	</a:t>
            </a:r>
            <a:r>
              <a:rPr lang="de-DE" u="sng" dirty="0" smtClean="0">
                <a:solidFill>
                  <a:schemeClr val="tx2"/>
                </a:solidFill>
              </a:rPr>
              <a:t>Message</a:t>
            </a:r>
            <a:r>
              <a:rPr lang="de-DE" dirty="0" smtClean="0">
                <a:solidFill>
                  <a:schemeClr val="tx2"/>
                </a:solidFill>
              </a:rPr>
              <a:t>				</a:t>
            </a:r>
          </a:p>
          <a:p>
            <a:r>
              <a:rPr lang="de-DE" dirty="0" smtClean="0">
                <a:solidFill>
                  <a:schemeClr val="tx2"/>
                </a:solidFill>
              </a:rPr>
              <a:t>	&lt;h1&gt;</a:t>
            </a:r>
            <a:r>
              <a:rPr lang="de-DE" dirty="0" err="1" smtClean="0">
                <a:solidFill>
                  <a:schemeClr val="tx2"/>
                </a:solidFill>
              </a:rPr>
              <a:t>test</a:t>
            </a:r>
            <a:r>
              <a:rPr lang="de-DE" dirty="0" smtClean="0">
                <a:solidFill>
                  <a:schemeClr val="tx2"/>
                </a:solidFill>
              </a:rPr>
              <a:t>&lt;/h1&gt;			</a:t>
            </a:r>
          </a:p>
          <a:p>
            <a:r>
              <a:rPr lang="de-DE" dirty="0">
                <a:solidFill>
                  <a:schemeClr val="tx2"/>
                </a:solidFill>
              </a:rPr>
              <a:t>	</a:t>
            </a:r>
            <a:r>
              <a:rPr lang="de-DE" u="sng" dirty="0" smtClean="0">
                <a:solidFill>
                  <a:schemeClr val="tx2"/>
                </a:solidFill>
              </a:rPr>
              <a:t>Codiert</a:t>
            </a:r>
            <a:r>
              <a:rPr lang="de-DE" dirty="0" smtClean="0">
                <a:solidFill>
                  <a:schemeClr val="tx2"/>
                </a:solidFill>
              </a:rPr>
              <a:t>				%26amp%3Blt%3Bh1%26amp%3Bgt%3Btest%26amp%3Blt%3B%2Fh1%	26amp%3Bgt%3B</a:t>
            </a:r>
          </a:p>
          <a:p>
            <a:endParaRPr lang="de-DE" dirty="0">
              <a:solidFill>
                <a:schemeClr val="tx2"/>
              </a:solidFill>
            </a:endParaRPr>
          </a:p>
          <a:p>
            <a:pPr algn="ctr"/>
            <a:r>
              <a:rPr lang="de-DE" u="sng" dirty="0" err="1" smtClean="0">
                <a:solidFill>
                  <a:schemeClr val="tx2"/>
                </a:solidFill>
              </a:rPr>
              <a:t>Validator</a:t>
            </a:r>
            <a:endParaRPr lang="de-DE" u="sng" dirty="0" smtClean="0">
              <a:solidFill>
                <a:schemeClr val="tx2"/>
              </a:solidFill>
            </a:endParaRPr>
          </a:p>
          <a:p>
            <a:pPr marL="171450" indent="-171450" algn="ctr">
              <a:buFont typeface="Arial" pitchFamily="34" charset="0"/>
              <a:buChar char="•"/>
            </a:pPr>
            <a:r>
              <a:rPr lang="de-DE" dirty="0" smtClean="0">
                <a:solidFill>
                  <a:schemeClr val="tx2"/>
                </a:solidFill>
              </a:rPr>
              <a:t>Benutzerdefinierte Regeln</a:t>
            </a:r>
          </a:p>
          <a:p>
            <a:pPr marL="171450" indent="-171450" algn="ctr">
              <a:buFont typeface="Arial" pitchFamily="34" charset="0"/>
              <a:buChar char="•"/>
            </a:pPr>
            <a:endParaRPr lang="de-DE" dirty="0" smtClean="0">
              <a:solidFill>
                <a:schemeClr val="tx2"/>
              </a:solidFill>
            </a:endParaRPr>
          </a:p>
        </p:txBody>
      </p:sp>
      <p:sp>
        <p:nvSpPr>
          <p:cNvPr id="7" name="Abgerundetes Rechteck 6"/>
          <p:cNvSpPr/>
          <p:nvPr/>
        </p:nvSpPr>
        <p:spPr bwMode="gray">
          <a:xfrm>
            <a:off x="1620391" y="2160563"/>
            <a:ext cx="2448272" cy="216024"/>
          </a:xfrm>
          <a:prstGeom prst="round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>
              <a:solidFill>
                <a:sysClr val="windowText" lastClr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29876477"/>
      </p:ext>
    </p:extLst>
  </p:cSld>
  <p:clrMapOvr>
    <a:masterClrMapping/>
  </p:clrMapOvr>
  <p:transition spd="med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6" dur="2000" fill="hold"/>
                                        <p:tgtEl>
                                          <p:spTgt spid="6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" dur="500" fill="hold"/>
                                        <p:tgtEl>
                                          <p:spTgt spid="1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1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8" dur="500" fill="hold"/>
                                        <p:tgtEl>
                                          <p:spTgt spid="19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500" fill="hold"/>
                                        <p:tgtEl>
                                          <p:spTgt spid="19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19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8" dur="500" fill="hold"/>
                                        <p:tgtEl>
                                          <p:spTgt spid="19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500" fill="hold"/>
                                        <p:tgtEl>
                                          <p:spTgt spid="19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19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3" dur="500" fill="hold"/>
                                        <p:tgtEl>
                                          <p:spTgt spid="19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4" dur="500" fill="hold"/>
                                        <p:tgtEl>
                                          <p:spTgt spid="19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19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8" dur="500" fill="hold"/>
                                        <p:tgtEl>
                                          <p:spTgt spid="19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9" dur="500" fill="hold"/>
                                        <p:tgtEl>
                                          <p:spTgt spid="19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19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3" dur="500" fill="hold"/>
                                        <p:tgtEl>
                                          <p:spTgt spid="19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4" dur="500" fill="hold"/>
                                        <p:tgtEl>
                                          <p:spTgt spid="19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5" dur="500"/>
                                        <p:tgtEl>
                                          <p:spTgt spid="19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6" fill="hold">
                      <p:stCondLst>
                        <p:cond delay="indefinite"/>
                      </p:stCondLst>
                      <p:childTnLst>
                        <p:par>
                          <p:cTn id="47" fill="hold">
                            <p:stCondLst>
                              <p:cond delay="0"/>
                            </p:stCondLst>
                            <p:childTnLst>
                              <p:par>
                                <p:cTn id="48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0" dur="500" fill="hold"/>
                                        <p:tgtEl>
                                          <p:spTgt spid="19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1" dur="500" fill="hold"/>
                                        <p:tgtEl>
                                          <p:spTgt spid="19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19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5" dur="500" fill="hold"/>
                                        <p:tgtEl>
                                          <p:spTgt spid="19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6" dur="500" fill="hold"/>
                                        <p:tgtEl>
                                          <p:spTgt spid="19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7" dur="500"/>
                                        <p:tgtEl>
                                          <p:spTgt spid="19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0042663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621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de-DE" sz="2000" b="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Fazit</a:t>
            </a:r>
            <a:endParaRPr lang="de-DE" sz="2000" b="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6" name="Inhaltsplatzhalter 5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de-DE" b="1" u="sng" dirty="0" smtClean="0">
                <a:solidFill>
                  <a:schemeClr val="tx2"/>
                </a:solidFill>
              </a:rPr>
              <a:t>Agenda: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Vorstellung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Thematik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Analyse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accent2"/>
                </a:solidFill>
              </a:rPr>
              <a:t>Entwurf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accent2"/>
                </a:solidFill>
              </a:rPr>
              <a:t>Implementierung</a:t>
            </a:r>
            <a:endParaRPr lang="de-DE" dirty="0" smtClean="0">
              <a:solidFill>
                <a:schemeClr val="accent2"/>
              </a:solidFill>
            </a:endParaRP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tx2"/>
                </a:solidFill>
              </a:rPr>
              <a:t>Fazit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accent2"/>
                </a:solidFill>
              </a:rPr>
              <a:t>Ende</a:t>
            </a:r>
            <a:endParaRPr lang="de-DE" dirty="0">
              <a:solidFill>
                <a:schemeClr val="accent2"/>
              </a:solidFill>
            </a:endParaRP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5A607C75-7E5E-49DD-BFE0-283F617009BA}" type="datetime1">
              <a:rPr lang="de-DE" noProof="0" smtClean="0"/>
              <a:t>08.06.2017</a:t>
            </a:fld>
            <a:endParaRPr lang="de-DE" noProof="0" dirty="0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 noProof="0" dirty="0" smtClean="0"/>
              <a:t>LSC - Live Support Chat</a:t>
            </a:r>
            <a:endParaRPr lang="de-DE" noProof="0" dirty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D7FBF016-173F-4D13-AB5B-81861F2E6151}" type="slidenum">
              <a:rPr lang="de-DE" noProof="0" smtClean="0"/>
              <a:pPr/>
              <a:t>14</a:t>
            </a:fld>
            <a:endParaRPr lang="de-DE" noProof="0" dirty="0"/>
          </a:p>
        </p:txBody>
      </p:sp>
      <p:sp>
        <p:nvSpPr>
          <p:cNvPr id="13" name="Inhaltsplatzhalter 4"/>
          <p:cNvSpPr>
            <a:spLocks noGrp="1"/>
          </p:cNvSpPr>
          <p:nvPr>
            <p:ph idx="1"/>
          </p:nvPr>
        </p:nvSpPr>
        <p:spPr>
          <a:xfrm>
            <a:off x="179388" y="1008063"/>
            <a:ext cx="5400675" cy="3887787"/>
          </a:xfrm>
        </p:spPr>
        <p:txBody>
          <a:bodyPr/>
          <a:lstStyle/>
          <a:p>
            <a:pPr algn="ctr"/>
            <a:r>
              <a:rPr lang="de-DE" sz="1600" u="sng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</a:rPr>
              <a:t>Wie wird es weitergehen?</a:t>
            </a:r>
          </a:p>
          <a:p>
            <a:pPr marL="171450" indent="-171450" algn="ctr">
              <a:buFont typeface="Arial" pitchFamily="34" charset="0"/>
              <a:buChar char="•"/>
            </a:pPr>
            <a:endParaRPr lang="de-DE" dirty="0" smtClean="0">
              <a:solidFill>
                <a:schemeClr val="tx2"/>
              </a:solidFill>
            </a:endParaRPr>
          </a:p>
          <a:p>
            <a:pPr marL="171450" indent="-171450" algn="ctr">
              <a:buFont typeface="Arial" pitchFamily="34" charset="0"/>
              <a:buChar char="•"/>
            </a:pPr>
            <a:r>
              <a:rPr lang="de-DE" dirty="0">
                <a:solidFill>
                  <a:schemeClr val="tx2"/>
                </a:solidFill>
              </a:rPr>
              <a:t>Produktive Integration </a:t>
            </a:r>
            <a:endParaRPr lang="de-DE" dirty="0" smtClean="0">
              <a:solidFill>
                <a:schemeClr val="tx2"/>
              </a:solidFill>
            </a:endParaRPr>
          </a:p>
          <a:p>
            <a:pPr marL="171450" indent="-171450" algn="ctr">
              <a:buFont typeface="Arial" pitchFamily="34" charset="0"/>
              <a:buChar char="•"/>
            </a:pPr>
            <a:endParaRPr lang="de-DE" dirty="0">
              <a:solidFill>
                <a:schemeClr val="tx2"/>
              </a:solidFill>
            </a:endParaRPr>
          </a:p>
          <a:p>
            <a:pPr marL="171450" indent="-171450" algn="ctr">
              <a:buFont typeface="Arial" pitchFamily="34" charset="0"/>
              <a:buChar char="•"/>
            </a:pPr>
            <a:r>
              <a:rPr lang="de-DE" dirty="0" smtClean="0">
                <a:solidFill>
                  <a:schemeClr val="tx2"/>
                </a:solidFill>
              </a:rPr>
              <a:t>Nutzeranalyse</a:t>
            </a:r>
            <a:endParaRPr lang="de-DE" dirty="0">
              <a:solidFill>
                <a:schemeClr val="tx2"/>
              </a:solidFill>
            </a:endParaRPr>
          </a:p>
          <a:p>
            <a:pPr marL="171450" indent="-171450" algn="ctr">
              <a:buFont typeface="Arial" pitchFamily="34" charset="0"/>
              <a:buChar char="•"/>
            </a:pPr>
            <a:endParaRPr lang="de-DE" dirty="0" smtClean="0">
              <a:solidFill>
                <a:schemeClr val="tx2"/>
              </a:solidFill>
            </a:endParaRPr>
          </a:p>
          <a:p>
            <a:pPr marL="171450" indent="-171450" algn="ctr">
              <a:buFont typeface="Arial" pitchFamily="34" charset="0"/>
              <a:buChar char="•"/>
            </a:pPr>
            <a:endParaRPr lang="de-DE" dirty="0" smtClean="0">
              <a:solidFill>
                <a:schemeClr val="tx2"/>
              </a:solidFill>
            </a:endParaRPr>
          </a:p>
        </p:txBody>
      </p:sp>
      <p:sp>
        <p:nvSpPr>
          <p:cNvPr id="10" name="Textfeld 9"/>
          <p:cNvSpPr txBox="1"/>
          <p:nvPr/>
        </p:nvSpPr>
        <p:spPr>
          <a:xfrm>
            <a:off x="4716735" y="936427"/>
            <a:ext cx="914400" cy="9144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endParaRPr lang="de-DE" dirty="0" err="1" smtClean="0"/>
          </a:p>
        </p:txBody>
      </p:sp>
      <p:pic>
        <p:nvPicPr>
          <p:cNvPr id="23555" name="Picture 3" descr="U:\Projektarbeit\Präsentation\img\Fazit.pn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33747" y="2088554"/>
            <a:ext cx="3333750" cy="28860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652433914"/>
      </p:ext>
    </p:extLst>
  </p:cSld>
  <p:clrMapOvr>
    <a:masterClrMapping/>
  </p:clrMapOvr>
  <p:transition spd="med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6" dur="2000" fill="hold"/>
                                        <p:tgtEl>
                                          <p:spTgt spid="6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" dur="500" fill="hold"/>
                                        <p:tgtEl>
                                          <p:spTgt spid="1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1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8" dur="500" fill="hold"/>
                                        <p:tgtEl>
                                          <p:spTgt spid="1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500" fill="hold"/>
                                        <p:tgtEl>
                                          <p:spTgt spid="1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1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0195348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20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de-DE" sz="2000" b="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Ende</a:t>
            </a:r>
            <a:endParaRPr lang="de-DE" sz="2000" b="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6" name="Inhaltsplatzhalter 5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de-DE" b="1" u="sng" dirty="0" smtClean="0">
                <a:solidFill>
                  <a:schemeClr val="tx2"/>
                </a:solidFill>
              </a:rPr>
              <a:t>Agenda: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Vorstellung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Thematik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Analyse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accent2"/>
                </a:solidFill>
              </a:rPr>
              <a:t>Entwurf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accent2"/>
                </a:solidFill>
              </a:rPr>
              <a:t>Implementierung</a:t>
            </a:r>
            <a:endParaRPr lang="de-DE" dirty="0" smtClean="0">
              <a:solidFill>
                <a:schemeClr val="accent2"/>
              </a:solidFill>
            </a:endParaRP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Fazit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tx2"/>
                </a:solidFill>
              </a:rPr>
              <a:t>Ende</a:t>
            </a:r>
            <a:endParaRPr lang="de-DE" dirty="0">
              <a:solidFill>
                <a:schemeClr val="tx2"/>
              </a:solidFill>
            </a:endParaRP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5A607C75-7E5E-49DD-BFE0-283F617009BA}" type="datetime1">
              <a:rPr lang="de-DE" noProof="0" smtClean="0"/>
              <a:t>08.06.2017</a:t>
            </a:fld>
            <a:endParaRPr lang="de-DE" noProof="0" dirty="0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 noProof="0" dirty="0" smtClean="0"/>
              <a:t>LSC - Live Support Chat</a:t>
            </a:r>
            <a:endParaRPr lang="de-DE" noProof="0" dirty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D7FBF016-173F-4D13-AB5B-81861F2E6151}" type="slidenum">
              <a:rPr lang="de-DE" noProof="0" smtClean="0"/>
              <a:pPr/>
              <a:t>15</a:t>
            </a:fld>
            <a:endParaRPr lang="de-DE" noProof="0" dirty="0"/>
          </a:p>
        </p:txBody>
      </p:sp>
      <p:sp>
        <p:nvSpPr>
          <p:cNvPr id="13" name="Inhaltsplatzhalter 4"/>
          <p:cNvSpPr>
            <a:spLocks noGrp="1"/>
          </p:cNvSpPr>
          <p:nvPr>
            <p:ph idx="1"/>
          </p:nvPr>
        </p:nvSpPr>
        <p:spPr>
          <a:xfrm>
            <a:off x="179388" y="1008063"/>
            <a:ext cx="5400675" cy="3887787"/>
          </a:xfrm>
        </p:spPr>
        <p:txBody>
          <a:bodyPr/>
          <a:lstStyle/>
          <a:p>
            <a:pPr marL="171450" indent="-171450" algn="ctr">
              <a:buFont typeface="Arial" pitchFamily="34" charset="0"/>
              <a:buChar char="•"/>
            </a:pPr>
            <a:endParaRPr lang="de-DE" dirty="0" smtClean="0">
              <a:solidFill>
                <a:schemeClr val="tx2"/>
              </a:solidFill>
            </a:endParaRPr>
          </a:p>
          <a:p>
            <a:pPr marL="171450" indent="-171450" algn="ctr">
              <a:buFont typeface="Arial" pitchFamily="34" charset="0"/>
              <a:buChar char="•"/>
            </a:pPr>
            <a:endParaRPr lang="de-DE" dirty="0" smtClean="0">
              <a:solidFill>
                <a:schemeClr val="tx2"/>
              </a:solidFill>
            </a:endParaRPr>
          </a:p>
        </p:txBody>
      </p:sp>
      <p:sp>
        <p:nvSpPr>
          <p:cNvPr id="10" name="Textfeld 9"/>
          <p:cNvSpPr txBox="1"/>
          <p:nvPr/>
        </p:nvSpPr>
        <p:spPr>
          <a:xfrm>
            <a:off x="4716735" y="936427"/>
            <a:ext cx="914400" cy="9144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endParaRPr lang="de-DE" dirty="0" err="1" smtClean="0"/>
          </a:p>
        </p:txBody>
      </p:sp>
      <p:pic>
        <p:nvPicPr>
          <p:cNvPr id="25605" name="Picture 5" descr="U:\Projektarbeit\Präsentation\präsentation_img\Ende.pn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8182" y="1224459"/>
            <a:ext cx="4355753" cy="29100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2957702"/>
      </p:ext>
    </p:extLst>
  </p:cSld>
  <p:clrMapOvr>
    <a:masterClrMapping/>
  </p:clrMapOvr>
  <p:transition spd="med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6" dur="2000" fill="hold"/>
                                        <p:tgtEl>
                                          <p:spTgt spid="6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4775848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96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de-DE" sz="2400" b="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Das Unternehmen</a:t>
            </a:r>
            <a:endParaRPr lang="de-DE" sz="2400" b="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5" name="Inhaltsplatzhalter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Inhaltsplatzhalter 5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de-DE" b="1" u="sng" dirty="0" smtClean="0">
                <a:solidFill>
                  <a:schemeClr val="tx2"/>
                </a:solidFill>
              </a:rPr>
              <a:t>Agenda: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tx2"/>
                </a:solidFill>
              </a:rPr>
              <a:t>Vorstellung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accent2"/>
                </a:solidFill>
              </a:rPr>
              <a:t>Thematik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accent2"/>
                </a:solidFill>
              </a:rPr>
              <a:t>Analyse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accent2"/>
                </a:solidFill>
              </a:rPr>
              <a:t>Entwurf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accent2"/>
                </a:solidFill>
              </a:rPr>
              <a:t>Implementierung</a:t>
            </a:r>
            <a:endParaRPr lang="de-DE" dirty="0" smtClean="0">
              <a:solidFill>
                <a:schemeClr val="accent2"/>
              </a:solidFill>
            </a:endParaRP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accent2"/>
                </a:solidFill>
              </a:rPr>
              <a:t>Fazit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accent2"/>
                </a:solidFill>
              </a:rPr>
              <a:t>Ende</a:t>
            </a:r>
            <a:endParaRPr lang="de-DE" dirty="0">
              <a:solidFill>
                <a:schemeClr val="accent2"/>
              </a:solidFill>
            </a:endParaRP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5A607C75-7E5E-49DD-BFE0-283F617009BA}" type="datetime1">
              <a:rPr lang="de-DE" noProof="0" smtClean="0"/>
              <a:t>08.06.2017</a:t>
            </a:fld>
            <a:endParaRPr lang="de-DE" noProof="0" dirty="0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 noProof="0" dirty="0" smtClean="0"/>
              <a:t>LSC - Live Support Chat</a:t>
            </a:r>
            <a:endParaRPr lang="de-DE" noProof="0" dirty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D7FBF016-173F-4D13-AB5B-81861F2E6151}" type="slidenum">
              <a:rPr lang="de-DE" noProof="0" smtClean="0"/>
              <a:pPr/>
              <a:t>2</a:t>
            </a:fld>
            <a:endParaRPr lang="de-DE" noProof="0" dirty="0"/>
          </a:p>
        </p:txBody>
      </p:sp>
      <p:pic>
        <p:nvPicPr>
          <p:cNvPr id="8203" name="Picture 11" descr="U:\Projektarbeit\Präsentation\img\vorstellung_BankGebaeude.jpe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0231" y="1008435"/>
            <a:ext cx="5400599" cy="38884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722682032"/>
      </p:ext>
    </p:extLst>
  </p:cSld>
  <p:clrMapOvr>
    <a:masterClrMapping/>
  </p:clrMapOvr>
  <p:transition spd="med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6" dur="2000" fill="hold"/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5016538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13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de-DE" sz="2000" b="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Wir – der interne IT Dienstleister</a:t>
            </a:r>
            <a:endParaRPr lang="de-DE" sz="2000" b="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5" name="Inhaltsplatzhalter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171450" indent="-171450" algn="ctr">
              <a:buFont typeface="Arial" pitchFamily="34" charset="0"/>
              <a:buChar char="•"/>
            </a:pPr>
            <a:r>
              <a:rPr lang="de-DE" dirty="0" smtClean="0">
                <a:solidFill>
                  <a:schemeClr val="tx2"/>
                </a:solidFill>
              </a:rPr>
              <a:t>Interner IT Dienstleister seit mehr als 15 Jahren</a:t>
            </a:r>
          </a:p>
          <a:p>
            <a:pPr marL="171450" indent="-171450" algn="ctr">
              <a:buFont typeface="Arial" pitchFamily="34" charset="0"/>
              <a:buChar char="•"/>
            </a:pPr>
            <a:endParaRPr lang="de-DE" dirty="0" smtClean="0">
              <a:solidFill>
                <a:schemeClr val="tx2"/>
              </a:solidFill>
            </a:endParaRPr>
          </a:p>
          <a:p>
            <a:pPr marL="171450" indent="-171450" algn="ctr">
              <a:buFont typeface="Arial" pitchFamily="34" charset="0"/>
              <a:buChar char="•"/>
            </a:pPr>
            <a:r>
              <a:rPr lang="de-DE" dirty="0" smtClean="0">
                <a:solidFill>
                  <a:schemeClr val="tx2"/>
                </a:solidFill>
              </a:rPr>
              <a:t>Der überwiegende Teil  der Applikationen ist selbst entwickelt</a:t>
            </a:r>
          </a:p>
          <a:p>
            <a:pPr marL="171450" indent="-171450" algn="ctr">
              <a:buFont typeface="Arial" pitchFamily="34" charset="0"/>
              <a:buChar char="•"/>
            </a:pPr>
            <a:endParaRPr lang="de-DE" dirty="0" smtClean="0">
              <a:solidFill>
                <a:schemeClr val="tx2"/>
              </a:solidFill>
            </a:endParaRPr>
          </a:p>
          <a:p>
            <a:pPr marL="171450" indent="-171450" algn="ctr">
              <a:buFont typeface="Arial" pitchFamily="34" charset="0"/>
              <a:buChar char="•"/>
            </a:pPr>
            <a:r>
              <a:rPr lang="de-DE" dirty="0" smtClean="0">
                <a:solidFill>
                  <a:schemeClr val="tx2"/>
                </a:solidFill>
              </a:rPr>
              <a:t>Über 250 Mitarbeiter im Bereich IT</a:t>
            </a:r>
            <a:endParaRPr lang="de-DE" dirty="0">
              <a:solidFill>
                <a:schemeClr val="tx2"/>
              </a:solidFill>
            </a:endParaRPr>
          </a:p>
        </p:txBody>
      </p:sp>
      <p:sp>
        <p:nvSpPr>
          <p:cNvPr id="6" name="Inhaltsplatzhalter 5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de-DE" b="1" u="sng" dirty="0" smtClean="0">
                <a:solidFill>
                  <a:schemeClr val="tx2"/>
                </a:solidFill>
              </a:rPr>
              <a:t>Agenda: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tx2"/>
                </a:solidFill>
              </a:rPr>
              <a:t>Vorstellung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Thematik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accent2"/>
                </a:solidFill>
              </a:rPr>
              <a:t>Analyse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accent2"/>
                </a:solidFill>
              </a:rPr>
              <a:t>Entwurf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accent2"/>
                </a:solidFill>
              </a:rPr>
              <a:t>Implementierung</a:t>
            </a:r>
            <a:endParaRPr lang="de-DE" dirty="0" smtClean="0">
              <a:solidFill>
                <a:schemeClr val="accent2"/>
              </a:solidFill>
            </a:endParaRP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accent2"/>
                </a:solidFill>
              </a:rPr>
              <a:t>Fazit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accent2"/>
                </a:solidFill>
              </a:rPr>
              <a:t>Ende</a:t>
            </a:r>
            <a:endParaRPr lang="de-DE" dirty="0">
              <a:solidFill>
                <a:schemeClr val="accent2"/>
              </a:solidFill>
            </a:endParaRP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5A607C75-7E5E-49DD-BFE0-283F617009BA}" type="datetime1">
              <a:rPr lang="de-DE" noProof="0" smtClean="0"/>
              <a:t>08.06.2017</a:t>
            </a:fld>
            <a:endParaRPr lang="de-DE" noProof="0" dirty="0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 noProof="0" dirty="0" smtClean="0"/>
              <a:t>LSC - Live Support Chat</a:t>
            </a:r>
            <a:endParaRPr lang="de-DE" noProof="0" dirty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D7FBF016-173F-4D13-AB5B-81861F2E6151}" type="slidenum">
              <a:rPr lang="de-DE" noProof="0" smtClean="0"/>
              <a:pPr/>
              <a:t>3</a:t>
            </a:fld>
            <a:endParaRPr lang="de-DE" noProof="0" dirty="0"/>
          </a:p>
        </p:txBody>
      </p:sp>
      <p:pic>
        <p:nvPicPr>
          <p:cNvPr id="9220" name="Picture 4" descr="U:\Projektarbeit\Präsentation\img\vorstellung_Laptop.jp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8303" y="2232158"/>
            <a:ext cx="4402306" cy="26916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15156899"/>
      </p:ext>
    </p:extLst>
  </p:cSld>
  <p:clrMapOvr>
    <a:masterClrMapping/>
  </p:clrMapOvr>
  <p:transition spd="med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6" dur="2000" fill="hold"/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" dur="500" fill="hold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8" dur="500" fill="hold"/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500" fill="hold"/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5" dur="500" fill="hold"/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500" fill="hold"/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2288909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57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de-DE" sz="2000" b="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rojektbeschreibung</a:t>
            </a:r>
            <a:endParaRPr lang="de-DE" sz="2000" b="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5" name="Inhaltsplatzhalter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171450" indent="-171450" algn="ctr">
              <a:buFont typeface="Arial" pitchFamily="34" charset="0"/>
              <a:buChar char="•"/>
            </a:pPr>
            <a:r>
              <a:rPr lang="de-DE" dirty="0" smtClean="0">
                <a:solidFill>
                  <a:schemeClr val="tx2"/>
                </a:solidFill>
              </a:rPr>
              <a:t>Echtzeit Kommunikation</a:t>
            </a:r>
          </a:p>
          <a:p>
            <a:pPr marL="171450" indent="-171450" algn="ctr">
              <a:buFont typeface="Arial" pitchFamily="34" charset="0"/>
              <a:buChar char="•"/>
            </a:pPr>
            <a:endParaRPr lang="de-DE" dirty="0" smtClean="0">
              <a:solidFill>
                <a:schemeClr val="tx2"/>
              </a:solidFill>
            </a:endParaRPr>
          </a:p>
          <a:p>
            <a:pPr marL="171450" indent="-171450" algn="ctr">
              <a:buFont typeface="Arial" pitchFamily="34" charset="0"/>
              <a:buChar char="•"/>
            </a:pPr>
            <a:r>
              <a:rPr lang="de-DE" dirty="0">
                <a:solidFill>
                  <a:schemeClr val="tx2"/>
                </a:solidFill>
              </a:rPr>
              <a:t>Integriert in die Intranet </a:t>
            </a:r>
            <a:r>
              <a:rPr lang="de-DE" dirty="0" smtClean="0">
                <a:solidFill>
                  <a:schemeClr val="tx2"/>
                </a:solidFill>
              </a:rPr>
              <a:t>Seite</a:t>
            </a:r>
          </a:p>
          <a:p>
            <a:pPr marL="171450" indent="-171450" algn="ctr">
              <a:buFont typeface="Arial" pitchFamily="34" charset="0"/>
              <a:buChar char="•"/>
            </a:pPr>
            <a:endParaRPr lang="de-DE" dirty="0" smtClean="0">
              <a:solidFill>
                <a:schemeClr val="tx2"/>
              </a:solidFill>
            </a:endParaRPr>
          </a:p>
          <a:p>
            <a:pPr marL="171450" indent="-171450" algn="ctr">
              <a:buFont typeface="Arial" pitchFamily="34" charset="0"/>
              <a:buChar char="•"/>
            </a:pPr>
            <a:r>
              <a:rPr lang="de-DE" dirty="0" smtClean="0">
                <a:solidFill>
                  <a:schemeClr val="tx2"/>
                </a:solidFill>
              </a:rPr>
              <a:t>Einfache Wartbarkeit durch Modularität</a:t>
            </a:r>
            <a:endParaRPr lang="de-DE" dirty="0">
              <a:solidFill>
                <a:schemeClr val="tx2"/>
              </a:solidFill>
            </a:endParaRPr>
          </a:p>
        </p:txBody>
      </p:sp>
      <p:sp>
        <p:nvSpPr>
          <p:cNvPr id="6" name="Inhaltsplatzhalter 5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de-DE" b="1" u="sng" dirty="0" smtClean="0">
                <a:solidFill>
                  <a:schemeClr val="tx2"/>
                </a:solidFill>
              </a:rPr>
              <a:t>Agenda: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Vorstellung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tx2"/>
                </a:solidFill>
              </a:rPr>
              <a:t>Thematik</a:t>
            </a:r>
            <a:endParaRPr lang="de-DE" dirty="0">
              <a:solidFill>
                <a:schemeClr val="tx2"/>
              </a:solidFill>
            </a:endParaRP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accent2"/>
                </a:solidFill>
              </a:rPr>
              <a:t>Analyse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accent2"/>
                </a:solidFill>
              </a:rPr>
              <a:t>Entwurf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accent2"/>
                </a:solidFill>
              </a:rPr>
              <a:t>Implementierung</a:t>
            </a:r>
            <a:endParaRPr lang="de-DE" dirty="0" smtClean="0">
              <a:solidFill>
                <a:schemeClr val="accent2"/>
              </a:solidFill>
            </a:endParaRP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accent2"/>
                </a:solidFill>
              </a:rPr>
              <a:t>Fazit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accent2"/>
                </a:solidFill>
              </a:rPr>
              <a:t>Ende</a:t>
            </a:r>
            <a:endParaRPr lang="de-DE" dirty="0">
              <a:solidFill>
                <a:schemeClr val="accent2"/>
              </a:solidFill>
            </a:endParaRP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5A607C75-7E5E-49DD-BFE0-283F617009BA}" type="datetime1">
              <a:rPr lang="de-DE" noProof="0" smtClean="0"/>
              <a:t>08.06.2017</a:t>
            </a:fld>
            <a:endParaRPr lang="de-DE" noProof="0" dirty="0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 noProof="0" dirty="0" smtClean="0"/>
              <a:t>LSC - Live Support Chat</a:t>
            </a:r>
            <a:endParaRPr lang="de-DE" noProof="0" dirty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D7FBF016-173F-4D13-AB5B-81861F2E6151}" type="slidenum">
              <a:rPr lang="de-DE" noProof="0" smtClean="0"/>
              <a:pPr/>
              <a:t>4</a:t>
            </a:fld>
            <a:endParaRPr lang="de-DE" noProof="0" dirty="0"/>
          </a:p>
        </p:txBody>
      </p:sp>
      <p:pic>
        <p:nvPicPr>
          <p:cNvPr id="11268" name="Picture 4" descr="U:\Projektarbeit\Präsentation\img\ChatBackground.pn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32359" y="2160563"/>
            <a:ext cx="3599340" cy="26725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742757308"/>
      </p:ext>
    </p:extLst>
  </p:cSld>
  <p:clrMapOvr>
    <a:masterClrMapping/>
  </p:clrMapOvr>
  <p:transition spd="med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6" dur="2000" fill="hold"/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" dur="500" fill="hold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8" dur="500" fill="hold"/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500" fill="hold"/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5" dur="500" fill="hold"/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500" fill="hold"/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590921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48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de-DE" sz="2000" b="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rojektbeschreibung</a:t>
            </a:r>
            <a:endParaRPr lang="de-DE" sz="2000" b="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6" name="Inhaltsplatzhalter 5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de-DE" b="1" u="sng" dirty="0" smtClean="0">
                <a:solidFill>
                  <a:schemeClr val="tx2"/>
                </a:solidFill>
              </a:rPr>
              <a:t>Agenda: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Vorstellung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tx2"/>
                </a:solidFill>
              </a:rPr>
              <a:t>Thematik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accent2"/>
                </a:solidFill>
              </a:rPr>
              <a:t>Analyse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accent2"/>
                </a:solidFill>
              </a:rPr>
              <a:t>Entwurf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accent2"/>
                </a:solidFill>
              </a:rPr>
              <a:t>Implementierung</a:t>
            </a:r>
            <a:endParaRPr lang="de-DE" dirty="0" smtClean="0">
              <a:solidFill>
                <a:schemeClr val="accent2"/>
              </a:solidFill>
            </a:endParaRP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accent2"/>
                </a:solidFill>
              </a:rPr>
              <a:t>Fazit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accent2"/>
                </a:solidFill>
              </a:rPr>
              <a:t>Ende</a:t>
            </a:r>
            <a:endParaRPr lang="de-DE" dirty="0">
              <a:solidFill>
                <a:schemeClr val="accent2"/>
              </a:solidFill>
            </a:endParaRP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5A607C75-7E5E-49DD-BFE0-283F617009BA}" type="datetime1">
              <a:rPr lang="de-DE" noProof="0" smtClean="0"/>
              <a:t>08.06.2017</a:t>
            </a:fld>
            <a:endParaRPr lang="de-DE" noProof="0" dirty="0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 noProof="0" dirty="0" smtClean="0"/>
              <a:t>LSC - Live Support Chat</a:t>
            </a:r>
            <a:endParaRPr lang="de-DE" noProof="0" dirty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D7FBF016-173F-4D13-AB5B-81861F2E6151}" type="slidenum">
              <a:rPr lang="de-DE" noProof="0" smtClean="0"/>
              <a:pPr/>
              <a:t>5</a:t>
            </a:fld>
            <a:endParaRPr lang="de-DE" noProof="0" dirty="0"/>
          </a:p>
        </p:txBody>
      </p:sp>
      <p:pic>
        <p:nvPicPr>
          <p:cNvPr id="10244" name="Picture 4" descr="U:\Projektarbeit\Präsentation\img\UserNeedHelp.pn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0326" y="948900"/>
            <a:ext cx="1349176" cy="13491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45" name="Picture 5" descr="U:\Projektarbeit\Präsentation\img\BrowserIcon.png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56495" y="2448595"/>
            <a:ext cx="1406166" cy="14061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46" name="Picture 6" descr="U:\Projektarbeit\Präsentation\img\ChatGuy.png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04767" y="3166295"/>
            <a:ext cx="1625600" cy="1625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48" name="Picture 8" descr="U:\Projektarbeit\Präsentation\img\DatabaseIcon.png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62661" y="948900"/>
            <a:ext cx="664518" cy="6645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6" name="Gekrümmte Verbindung 15"/>
          <p:cNvCxnSpPr>
            <a:endCxn id="10248" idx="2"/>
          </p:cNvCxnSpPr>
          <p:nvPr/>
        </p:nvCxnSpPr>
        <p:spPr>
          <a:xfrm rot="5400000" flipH="1" flipV="1">
            <a:off x="3124629" y="1981388"/>
            <a:ext cx="1538260" cy="802321"/>
          </a:xfrm>
          <a:prstGeom prst="curvedConnector3">
            <a:avLst>
              <a:gd name="adj1" fmla="val 50352"/>
            </a:avLst>
          </a:prstGeom>
          <a:ln>
            <a:solidFill>
              <a:schemeClr val="accent1">
                <a:lumMod val="60000"/>
                <a:lumOff val="40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Gekrümmte Verbindung 25"/>
          <p:cNvCxnSpPr>
            <a:stCxn id="10248" idx="1"/>
          </p:cNvCxnSpPr>
          <p:nvPr/>
        </p:nvCxnSpPr>
        <p:spPr>
          <a:xfrm rot="10800000" flipV="1">
            <a:off x="3259579" y="1281159"/>
            <a:ext cx="703082" cy="1815508"/>
          </a:xfrm>
          <a:prstGeom prst="curvedConnector2">
            <a:avLst/>
          </a:prstGeom>
          <a:ln>
            <a:solidFill>
              <a:schemeClr val="accent1">
                <a:lumMod val="60000"/>
                <a:lumOff val="40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feld 27"/>
          <p:cNvSpPr txBox="1"/>
          <p:nvPr/>
        </p:nvSpPr>
        <p:spPr>
          <a:xfrm rot="17746338">
            <a:off x="2806279" y="1771355"/>
            <a:ext cx="1010522" cy="21602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dirty="0" smtClean="0">
                <a:solidFill>
                  <a:schemeClr val="tx2"/>
                </a:solidFill>
              </a:rPr>
              <a:t>Mitarbeiter Data</a:t>
            </a:r>
          </a:p>
        </p:txBody>
      </p:sp>
      <p:cxnSp>
        <p:nvCxnSpPr>
          <p:cNvPr id="38" name="Gekrümmte Verbindung 37"/>
          <p:cNvCxnSpPr>
            <a:endCxn id="44" idx="3"/>
          </p:cNvCxnSpPr>
          <p:nvPr/>
        </p:nvCxnSpPr>
        <p:spPr>
          <a:xfrm rot="10800000" flipV="1">
            <a:off x="1387142" y="3456706"/>
            <a:ext cx="2129888" cy="987591"/>
          </a:xfrm>
          <a:prstGeom prst="curvedConnector3">
            <a:avLst>
              <a:gd name="adj1" fmla="val 50000"/>
            </a:avLst>
          </a:prstGeom>
          <a:ln>
            <a:solidFill>
              <a:schemeClr val="accent1">
                <a:lumMod val="60000"/>
                <a:lumOff val="40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256" name="Picture 16" descr="U:\Projektarbeit\Präsentation\img\chatIcon.png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00336" y="3329572"/>
            <a:ext cx="254270" cy="2542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3" name="Textfeld 42"/>
          <p:cNvSpPr txBox="1"/>
          <p:nvPr/>
        </p:nvSpPr>
        <p:spPr>
          <a:xfrm rot="20031196">
            <a:off x="1890796" y="4218787"/>
            <a:ext cx="1010522" cy="21602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dirty="0" smtClean="0">
                <a:solidFill>
                  <a:schemeClr val="tx2"/>
                </a:solidFill>
              </a:rPr>
              <a:t>Mitarbeiter Data</a:t>
            </a:r>
          </a:p>
        </p:txBody>
      </p:sp>
      <p:pic>
        <p:nvPicPr>
          <p:cNvPr id="44" name="Picture 8" descr="U:\Projektarbeit\Präsentation\img\DatabaseIcon.png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2624" y="4112039"/>
            <a:ext cx="664518" cy="6645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46" name="Gekrümmte Verbindung 45"/>
          <p:cNvCxnSpPr>
            <a:stCxn id="44" idx="0"/>
            <a:endCxn id="10256" idx="1"/>
          </p:cNvCxnSpPr>
          <p:nvPr/>
        </p:nvCxnSpPr>
        <p:spPr>
          <a:xfrm rot="5400000" flipH="1" flipV="1">
            <a:off x="1949943" y="2561647"/>
            <a:ext cx="655332" cy="2445453"/>
          </a:xfrm>
          <a:prstGeom prst="curvedConnector2">
            <a:avLst/>
          </a:prstGeom>
          <a:ln>
            <a:solidFill>
              <a:schemeClr val="accent1">
                <a:lumMod val="60000"/>
                <a:lumOff val="40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Textfeld 49"/>
          <p:cNvSpPr txBox="1"/>
          <p:nvPr/>
        </p:nvSpPr>
        <p:spPr>
          <a:xfrm rot="20661480">
            <a:off x="1091213" y="3422928"/>
            <a:ext cx="1010522" cy="21602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dirty="0" smtClean="0">
                <a:solidFill>
                  <a:schemeClr val="tx2"/>
                </a:solidFill>
              </a:rPr>
              <a:t>Chat Data</a:t>
            </a:r>
          </a:p>
        </p:txBody>
      </p:sp>
      <p:pic>
        <p:nvPicPr>
          <p:cNvPr id="10260" name="Picture 20" descr="U:\Projektarbeit\Präsentation\img\ChatBubbleIcon.png"/>
          <p:cNvPicPr>
            <a:picLocks noChangeAspect="1" noChangeArrowheads="1"/>
          </p:cNvPicPr>
          <p:nvPr/>
        </p:nvPicPr>
        <p:blipFill>
          <a:blip r:embed="rId11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12">
                    <a14:imgEffect>
                      <a14:artisticCrisscrossEtching trans="72000" pressure="33"/>
                    </a14:imgEffect>
                    <a14:imgEffect>
                      <a14:colorTemperature colorTemp="4500"/>
                    </a14:imgEffect>
                    <a14:imgEffect>
                      <a14:saturation sat="220000"/>
                    </a14:imgEffect>
                    <a14:imgEffect>
                      <a14:brightnessContrast bright="-20000" contrast="-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67745" y="2088555"/>
            <a:ext cx="1625600" cy="1282700"/>
          </a:xfrm>
          <a:prstGeom prst="rect">
            <a:avLst/>
          </a:prstGeom>
          <a:noFill/>
          <a:ln>
            <a:noFill/>
            <a:prstDash val="solid"/>
          </a:ln>
          <a:effectLst/>
        </p:spPr>
      </p:pic>
      <p:sp>
        <p:nvSpPr>
          <p:cNvPr id="7" name="Textfeld 6"/>
          <p:cNvSpPr txBox="1"/>
          <p:nvPr/>
        </p:nvSpPr>
        <p:spPr>
          <a:xfrm>
            <a:off x="3935925" y="2390371"/>
            <a:ext cx="1240724" cy="507831"/>
          </a:xfrm>
          <a:prstGeom prst="rect">
            <a:avLst/>
          </a:prstGeom>
          <a:noFill/>
        </p:spPr>
        <p:txBody>
          <a:bodyPr vert="horz" wrap="none" lIns="0" tIns="0" rIns="0" bIns="0" rtlCol="0" anchor="t" anchorCtr="0">
            <a:spAutoFit/>
          </a:bodyPr>
          <a:lstStyle/>
          <a:p>
            <a:r>
              <a:rPr lang="de-DE" dirty="0" smtClean="0"/>
              <a:t>Hallo, ich habe eine</a:t>
            </a:r>
          </a:p>
          <a:p>
            <a:r>
              <a:rPr lang="de-DE" dirty="0" smtClean="0"/>
              <a:t> Frage zu einem </a:t>
            </a:r>
          </a:p>
          <a:p>
            <a:r>
              <a:rPr lang="de-DE" dirty="0" smtClean="0"/>
              <a:t>Thema…</a:t>
            </a:r>
          </a:p>
        </p:txBody>
      </p:sp>
      <p:cxnSp>
        <p:nvCxnSpPr>
          <p:cNvPr id="25" name="Gekrümmte Verbindung 24"/>
          <p:cNvCxnSpPr>
            <a:stCxn id="10256" idx="3"/>
            <a:endCxn id="10246" idx="1"/>
          </p:cNvCxnSpPr>
          <p:nvPr/>
        </p:nvCxnSpPr>
        <p:spPr>
          <a:xfrm>
            <a:off x="3754606" y="3456707"/>
            <a:ext cx="1250161" cy="522388"/>
          </a:xfrm>
          <a:prstGeom prst="curvedConnector3">
            <a:avLst>
              <a:gd name="adj1" fmla="val 50000"/>
            </a:avLst>
          </a:prstGeom>
          <a:ln>
            <a:solidFill>
              <a:schemeClr val="accent1">
                <a:lumMod val="60000"/>
                <a:lumOff val="40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45427645"/>
      </p:ext>
    </p:extLst>
  </p:cSld>
  <p:clrMapOvr>
    <a:masterClrMapping/>
  </p:clrMapOvr>
  <p:transition spd="med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6" dur="2000" fill="hold"/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50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3.54473E-6 -3.38498E-6 L 0.12305 -3.38498E-6 C 0.17828 -3.38498E-6 0.24674 0.06586 0.24674 0.11919 L 0.24674 0.23838 " pathEditMode="relative" rAng="0" ptsTypes="FfFF">
                                      <p:cBhvr>
                                        <p:cTn id="10" dur="2000" fill="hold"/>
                                        <p:tgtEl>
                                          <p:spTgt spid="1024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2327" y="11919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2000"/>
                            </p:stCondLst>
                            <p:childTnLst>
                              <p:par>
                                <p:cTn id="12" presetID="42" presetClass="exit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3" dur="1000"/>
                                        <p:tgtEl>
                                          <p:spTgt spid="1024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4" dur="1000"/>
                                        <p:tgtEl>
                                          <p:spTgt spid="1024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1000"/>
                                        <p:tgtEl>
                                          <p:spTgt spid="1024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ppt_y+.1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102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1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1" dur="10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1024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5" dur="500" fill="hold"/>
                                        <p:tgtEl>
                                          <p:spTgt spid="1024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102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9" dur="1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0" dur="1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1" dur="10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4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5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9" dur="10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0" dur="10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1" dur="10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4" dur="5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5" dur="5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6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7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9" dur="5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0" dur="5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1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2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4" dur="10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5" dur="10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6" dur="10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7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9" dur="500" fill="hold"/>
                                        <p:tgtEl>
                                          <p:spTgt spid="5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0" dur="500" fill="hold"/>
                                        <p:tgtEl>
                                          <p:spTgt spid="5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1" dur="5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2" fill="hold">
                      <p:stCondLst>
                        <p:cond delay="indefinite"/>
                      </p:stCondLst>
                      <p:childTnLst>
                        <p:par>
                          <p:cTn id="63" fill="hold">
                            <p:stCondLst>
                              <p:cond delay="0"/>
                            </p:stCondLst>
                            <p:childTnLst>
                              <p:par>
                                <p:cTn id="64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6" dur="500" fill="hold"/>
                                        <p:tgtEl>
                                          <p:spTgt spid="1026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7" dur="500" fill="hold"/>
                                        <p:tgtEl>
                                          <p:spTgt spid="1026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8" dur="500"/>
                                        <p:tgtEl>
                                          <p:spTgt spid="102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9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1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2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73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4" fill="hold">
                      <p:stCondLst>
                        <p:cond delay="indefinite"/>
                      </p:stCondLst>
                      <p:childTnLst>
                        <p:par>
                          <p:cTn id="75" fill="hold">
                            <p:stCondLst>
                              <p:cond delay="0"/>
                            </p:stCondLst>
                            <p:childTnLst>
                              <p:par>
                                <p:cTn id="76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8" dur="10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9" dur="10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80" dur="10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1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83" dur="500" fill="hold"/>
                                        <p:tgtEl>
                                          <p:spTgt spid="1024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4" dur="500" fill="hold"/>
                                        <p:tgtEl>
                                          <p:spTgt spid="1024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85" dur="500"/>
                                        <p:tgtEl>
                                          <p:spTgt spid="102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8" grpId="0"/>
      <p:bldP spid="43" grpId="0"/>
      <p:bldP spid="50" grpId="0"/>
      <p:bldP spid="7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8292987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02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de-DE" sz="2000" b="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rojektziele</a:t>
            </a:r>
            <a:endParaRPr lang="de-DE" sz="2000" b="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5" name="Inhaltsplatzhalter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171450" indent="-171450" algn="ctr">
              <a:buFont typeface="Arial" pitchFamily="34" charset="0"/>
              <a:buChar char="•"/>
            </a:pPr>
            <a:endParaRPr lang="de-DE" sz="1400" dirty="0" smtClean="0">
              <a:solidFill>
                <a:schemeClr val="tx2"/>
              </a:solidFill>
            </a:endParaRPr>
          </a:p>
          <a:p>
            <a:pPr algn="ctr"/>
            <a:r>
              <a:rPr lang="de-DE" sz="1400" dirty="0" smtClean="0">
                <a:solidFill>
                  <a:schemeClr val="tx2"/>
                </a:solidFill>
              </a:rPr>
              <a:t>Schnellere Lösungsfindung</a:t>
            </a:r>
          </a:p>
          <a:p>
            <a:pPr algn="ctr"/>
            <a:r>
              <a:rPr lang="de-DE" sz="1400" dirty="0" smtClean="0">
                <a:solidFill>
                  <a:schemeClr val="tx2"/>
                </a:solidFill>
              </a:rPr>
              <a:t>Effizientes Support Kommunikationsmittel</a:t>
            </a:r>
          </a:p>
          <a:p>
            <a:pPr marL="171450" indent="-171450" algn="ctr">
              <a:buFont typeface="Arial" pitchFamily="34" charset="0"/>
              <a:buChar char="•"/>
            </a:pPr>
            <a:endParaRPr lang="de-DE" dirty="0" smtClean="0">
              <a:solidFill>
                <a:schemeClr val="tx2"/>
              </a:solidFill>
            </a:endParaRPr>
          </a:p>
          <a:p>
            <a:pPr algn="ctr"/>
            <a:r>
              <a:rPr lang="de-DE" u="sng" dirty="0" smtClean="0">
                <a:solidFill>
                  <a:schemeClr val="tx2"/>
                </a:solidFill>
              </a:rPr>
              <a:t>Vorteile?</a:t>
            </a:r>
          </a:p>
          <a:p>
            <a:pPr marL="171450" indent="-171450" algn="ctr">
              <a:buFont typeface="Arial" pitchFamily="34" charset="0"/>
              <a:buChar char="•"/>
            </a:pPr>
            <a:r>
              <a:rPr lang="de-DE" dirty="0" smtClean="0">
                <a:solidFill>
                  <a:schemeClr val="tx2"/>
                </a:solidFill>
              </a:rPr>
              <a:t>Keine externe Software</a:t>
            </a:r>
          </a:p>
          <a:p>
            <a:pPr marL="171450" indent="-171450" algn="ctr">
              <a:buFont typeface="Arial" pitchFamily="34" charset="0"/>
              <a:buChar char="•"/>
            </a:pPr>
            <a:r>
              <a:rPr lang="de-DE" dirty="0" smtClean="0">
                <a:solidFill>
                  <a:schemeClr val="tx2"/>
                </a:solidFill>
              </a:rPr>
              <a:t>Individuell anpassbar</a:t>
            </a:r>
          </a:p>
          <a:p>
            <a:pPr marL="171450" indent="-171450" algn="ctr">
              <a:buFont typeface="Arial" pitchFamily="34" charset="0"/>
              <a:buChar char="•"/>
            </a:pPr>
            <a:r>
              <a:rPr lang="de-DE" dirty="0" smtClean="0">
                <a:solidFill>
                  <a:schemeClr val="tx2"/>
                </a:solidFill>
              </a:rPr>
              <a:t>Hilfe „vor Ort“</a:t>
            </a:r>
          </a:p>
          <a:p>
            <a:pPr marL="171450" indent="-171450" algn="ctr">
              <a:buFont typeface="Arial" pitchFamily="34" charset="0"/>
              <a:buChar char="•"/>
            </a:pPr>
            <a:endParaRPr lang="de-DE" dirty="0" smtClean="0">
              <a:solidFill>
                <a:schemeClr val="tx2"/>
              </a:solidFill>
            </a:endParaRPr>
          </a:p>
          <a:p>
            <a:pPr algn="ctr"/>
            <a:r>
              <a:rPr lang="de-DE" u="sng" dirty="0" smtClean="0">
                <a:solidFill>
                  <a:schemeClr val="tx2"/>
                </a:solidFill>
              </a:rPr>
              <a:t>Zielgruppe?</a:t>
            </a:r>
          </a:p>
          <a:p>
            <a:pPr marL="171450" indent="-171450" algn="ctr">
              <a:buFont typeface="Arial" pitchFamily="34" charset="0"/>
              <a:buChar char="•"/>
            </a:pPr>
            <a:r>
              <a:rPr lang="de-DE" dirty="0" smtClean="0">
                <a:solidFill>
                  <a:schemeClr val="tx2"/>
                </a:solidFill>
              </a:rPr>
              <a:t>IT als Support-Dienstleister </a:t>
            </a:r>
          </a:p>
          <a:p>
            <a:pPr marL="171450" indent="-171450" algn="ctr">
              <a:buFont typeface="Arial" pitchFamily="34" charset="0"/>
              <a:buChar char="•"/>
            </a:pPr>
            <a:r>
              <a:rPr lang="de-DE" dirty="0" smtClean="0">
                <a:solidFill>
                  <a:schemeClr val="tx2"/>
                </a:solidFill>
              </a:rPr>
              <a:t>Fachbereich als Benutzer 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de-DE" b="1" u="sng" dirty="0" smtClean="0">
                <a:solidFill>
                  <a:schemeClr val="tx2"/>
                </a:solidFill>
              </a:rPr>
              <a:t>Agenda: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Vorstellung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Thematik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tx2"/>
                </a:solidFill>
              </a:rPr>
              <a:t>Analyse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accent2"/>
                </a:solidFill>
              </a:rPr>
              <a:t>Entwurf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accent2"/>
                </a:solidFill>
              </a:rPr>
              <a:t>Implementierung</a:t>
            </a:r>
            <a:endParaRPr lang="de-DE" dirty="0" smtClean="0">
              <a:solidFill>
                <a:schemeClr val="accent2"/>
              </a:solidFill>
            </a:endParaRP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accent2"/>
                </a:solidFill>
              </a:rPr>
              <a:t>Fazit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accent2"/>
                </a:solidFill>
              </a:rPr>
              <a:t>Ende</a:t>
            </a:r>
            <a:endParaRPr lang="de-DE" dirty="0">
              <a:solidFill>
                <a:schemeClr val="accent2"/>
              </a:solidFill>
            </a:endParaRP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5A607C75-7E5E-49DD-BFE0-283F617009BA}" type="datetime1">
              <a:rPr lang="de-DE" noProof="0" smtClean="0"/>
              <a:t>08.06.2017</a:t>
            </a:fld>
            <a:endParaRPr lang="de-DE" noProof="0" dirty="0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 noProof="0" dirty="0" smtClean="0"/>
              <a:t>LSC - Live Support Chat</a:t>
            </a:r>
            <a:endParaRPr lang="de-DE" noProof="0" dirty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D7FBF016-173F-4D13-AB5B-81861F2E6151}" type="slidenum">
              <a:rPr lang="de-DE" noProof="0" smtClean="0"/>
              <a:pPr/>
              <a:t>6</a:t>
            </a:fld>
            <a:endParaRPr lang="de-DE" noProof="0" dirty="0"/>
          </a:p>
        </p:txBody>
      </p:sp>
      <p:pic>
        <p:nvPicPr>
          <p:cNvPr id="13318" name="Picture 6" descr="U:\Projektarbeit\Präsentation\img\projektziele.pn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80631" y="1944539"/>
            <a:ext cx="1911851" cy="24829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26576452"/>
      </p:ext>
    </p:extLst>
  </p:cSld>
  <p:clrMapOvr>
    <a:masterClrMapping/>
  </p:clrMapOvr>
  <p:transition spd="med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6" dur="2000" fill="hold"/>
                                        <p:tgtEl>
                                          <p:spTgt spid="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" dur="500" fill="hold"/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8" dur="500" fill="hold"/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500" fill="hold"/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5" dur="500" fill="hold"/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500" fill="hold"/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3" dur="500" fill="hold"/>
                                        <p:tgtEl>
                                          <p:spTgt spid="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9" dur="500" fill="hold"/>
                                        <p:tgtEl>
                                          <p:spTgt spid="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0" dur="500" fill="hold"/>
                                        <p:tgtEl>
                                          <p:spTgt spid="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2" fill="hold">
                      <p:stCondLst>
                        <p:cond delay="indefinite"/>
                      </p:stCondLst>
                      <p:childTnLst>
                        <p:par>
                          <p:cTn id="43" fill="hold">
                            <p:stCondLst>
                              <p:cond delay="0"/>
                            </p:stCondLst>
                            <p:childTnLst>
                              <p:par>
                                <p:cTn id="44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6" dur="500" fill="hold"/>
                                        <p:tgtEl>
                                          <p:spTgt spid="5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7" dur="500" fill="hold"/>
                                        <p:tgtEl>
                                          <p:spTgt spid="5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8" dur="500"/>
                                        <p:tgtEl>
                                          <p:spTgt spid="5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9" fill="hold">
                      <p:stCondLst>
                        <p:cond delay="indefinite"/>
                      </p:stCondLst>
                      <p:childTnLst>
                        <p:par>
                          <p:cTn id="50" fill="hold">
                            <p:stCondLst>
                              <p:cond delay="0"/>
                            </p:stCondLst>
                            <p:childTnLst>
                              <p:par>
                                <p:cTn id="51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3" dur="500" fill="hold"/>
                                        <p:tgtEl>
                                          <p:spTgt spid="5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4" dur="500" fill="hold"/>
                                        <p:tgtEl>
                                          <p:spTgt spid="5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5" dur="500"/>
                                        <p:tgtEl>
                                          <p:spTgt spid="5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6" fill="hold">
                      <p:stCondLst>
                        <p:cond delay="indefinite"/>
                      </p:stCondLst>
                      <p:childTnLst>
                        <p:par>
                          <p:cTn id="57" fill="hold">
                            <p:stCondLst>
                              <p:cond delay="0"/>
                            </p:stCondLst>
                            <p:childTnLst>
                              <p:par>
                                <p:cTn id="58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0" dur="500" fill="hold"/>
                                        <p:tgtEl>
                                          <p:spTgt spid="5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1" dur="500" fill="hold"/>
                                        <p:tgtEl>
                                          <p:spTgt spid="5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2" dur="500"/>
                                        <p:tgtEl>
                                          <p:spTgt spid="5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3" fill="hold">
                      <p:stCondLst>
                        <p:cond delay="indefinite"/>
                      </p:stCondLst>
                      <p:childTnLst>
                        <p:par>
                          <p:cTn id="64" fill="hold">
                            <p:stCondLst>
                              <p:cond delay="0"/>
                            </p:stCondLst>
                            <p:childTnLst>
                              <p:par>
                                <p:cTn id="65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7" dur="500" fill="hold"/>
                                        <p:tgtEl>
                                          <p:spTgt spid="5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8" dur="500" fill="hold"/>
                                        <p:tgtEl>
                                          <p:spTgt spid="5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9" dur="500"/>
                                        <p:tgtEl>
                                          <p:spTgt spid="5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6085373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43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de-DE" sz="2000" b="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nwendungsfalldiagramm</a:t>
            </a:r>
            <a:endParaRPr lang="de-DE" sz="2000" b="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6" name="Inhaltsplatzhalter 5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de-DE" b="1" u="sng" dirty="0" smtClean="0">
                <a:solidFill>
                  <a:schemeClr val="tx2"/>
                </a:solidFill>
              </a:rPr>
              <a:t>Agenda: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Vorstellung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Thematik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tx2"/>
                </a:solidFill>
              </a:rPr>
              <a:t>Analyse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accent2"/>
                </a:solidFill>
              </a:rPr>
              <a:t>Entwurf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accent2"/>
                </a:solidFill>
              </a:rPr>
              <a:t>Implementierung</a:t>
            </a:r>
            <a:endParaRPr lang="de-DE" dirty="0" smtClean="0">
              <a:solidFill>
                <a:schemeClr val="accent2"/>
              </a:solidFill>
            </a:endParaRP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accent2"/>
                </a:solidFill>
              </a:rPr>
              <a:t>Fazit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accent2"/>
                </a:solidFill>
              </a:rPr>
              <a:t>Ende</a:t>
            </a:r>
            <a:endParaRPr lang="de-DE" dirty="0">
              <a:solidFill>
                <a:schemeClr val="accent2"/>
              </a:solidFill>
            </a:endParaRP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5A607C75-7E5E-49DD-BFE0-283F617009BA}" type="datetime1">
              <a:rPr lang="de-DE" noProof="0" smtClean="0"/>
              <a:t>08.06.2017</a:t>
            </a:fld>
            <a:endParaRPr lang="de-DE" noProof="0" dirty="0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 noProof="0" dirty="0" smtClean="0"/>
              <a:t>LSC - Live Support Chat</a:t>
            </a:r>
            <a:endParaRPr lang="de-DE" noProof="0" dirty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D7FBF016-173F-4D13-AB5B-81861F2E6151}" type="slidenum">
              <a:rPr lang="de-DE" noProof="0" smtClean="0"/>
              <a:pPr/>
              <a:t>7</a:t>
            </a:fld>
            <a:endParaRPr lang="de-DE" noProof="0" dirty="0"/>
          </a:p>
        </p:txBody>
      </p:sp>
      <p:pic>
        <p:nvPicPr>
          <p:cNvPr id="14416" name="Picture 80" descr="U:\Projektarbeit\Diagramme\Anwendungsfalldiagramm.pn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0232" y="1102487"/>
            <a:ext cx="5544616" cy="360320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82978533"/>
      </p:ext>
    </p:extLst>
  </p:cSld>
  <p:clrMapOvr>
    <a:masterClrMapping/>
  </p:clrMapOvr>
  <p:transition spd="med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6" dur="2000" fill="hold"/>
                                        <p:tgtEl>
                                          <p:spTgt spid="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4999493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44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de-DE" sz="2000" b="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rojektphasen</a:t>
            </a:r>
            <a:endParaRPr lang="de-DE" sz="2000" b="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6" name="Inhaltsplatzhalter 5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de-DE" b="1" u="sng" dirty="0" smtClean="0">
                <a:solidFill>
                  <a:schemeClr val="tx2"/>
                </a:solidFill>
              </a:rPr>
              <a:t>Agenda: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Vorstellung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Thematik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tx2"/>
                </a:solidFill>
              </a:rPr>
              <a:t>Analyse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accent2"/>
                </a:solidFill>
              </a:rPr>
              <a:t>Entwurf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accent2"/>
                </a:solidFill>
              </a:rPr>
              <a:t>Implementierung</a:t>
            </a:r>
            <a:endParaRPr lang="de-DE" dirty="0" smtClean="0">
              <a:solidFill>
                <a:schemeClr val="accent2"/>
              </a:solidFill>
            </a:endParaRP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accent2"/>
                </a:solidFill>
              </a:rPr>
              <a:t>Fazit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accent2"/>
                </a:solidFill>
              </a:rPr>
              <a:t>Ende</a:t>
            </a:r>
            <a:endParaRPr lang="de-DE" dirty="0">
              <a:solidFill>
                <a:schemeClr val="accent2"/>
              </a:solidFill>
            </a:endParaRP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5A607C75-7E5E-49DD-BFE0-283F617009BA}" type="datetime1">
              <a:rPr lang="de-DE" noProof="0" smtClean="0"/>
              <a:t>08.06.2017</a:t>
            </a:fld>
            <a:endParaRPr lang="de-DE" noProof="0" dirty="0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 noProof="0" dirty="0" smtClean="0"/>
              <a:t>LSC - Live Support Chat</a:t>
            </a:r>
            <a:endParaRPr lang="de-DE" noProof="0" dirty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D7FBF016-173F-4D13-AB5B-81861F2E6151}" type="slidenum">
              <a:rPr lang="de-DE" noProof="0" smtClean="0"/>
              <a:pPr/>
              <a:t>8</a:t>
            </a:fld>
            <a:endParaRPr lang="de-DE" noProof="0" dirty="0"/>
          </a:p>
        </p:txBody>
      </p:sp>
      <p:graphicFrame>
        <p:nvGraphicFramePr>
          <p:cNvPr id="12" name="Inhaltsplatzhalter 11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004535085"/>
              </p:ext>
            </p:extLst>
          </p:nvPr>
        </p:nvGraphicFramePr>
        <p:xfrm>
          <a:off x="180231" y="1008435"/>
          <a:ext cx="5400675" cy="38877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552827308"/>
      </p:ext>
    </p:extLst>
  </p:cSld>
  <p:clrMapOvr>
    <a:masterClrMapping/>
  </p:clrMapOvr>
  <p:transition spd="med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6" dur="2000" fill="hold"/>
                                        <p:tgtEl>
                                          <p:spTgt spid="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4883128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65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de-DE" sz="2000" b="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rojektkosten</a:t>
            </a:r>
            <a:endParaRPr lang="de-DE" sz="2000" b="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6" name="Inhaltsplatzhalter 5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de-DE" b="1" u="sng" dirty="0" smtClean="0">
                <a:solidFill>
                  <a:schemeClr val="tx2"/>
                </a:solidFill>
              </a:rPr>
              <a:t>Agenda: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Vorstellung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Thematik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tx2"/>
                </a:solidFill>
              </a:rPr>
              <a:t>Analyse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accent2"/>
                </a:solidFill>
              </a:rPr>
              <a:t>Entwurf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accent2"/>
                </a:solidFill>
              </a:rPr>
              <a:t>Implementierung</a:t>
            </a:r>
            <a:endParaRPr lang="de-DE" dirty="0" smtClean="0">
              <a:solidFill>
                <a:schemeClr val="accent2"/>
              </a:solidFill>
            </a:endParaRP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accent2"/>
                </a:solidFill>
              </a:rPr>
              <a:t>Fazit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accent2"/>
                </a:solidFill>
              </a:rPr>
              <a:t>Ende</a:t>
            </a:r>
            <a:endParaRPr lang="de-DE" dirty="0">
              <a:solidFill>
                <a:schemeClr val="accent2"/>
              </a:solidFill>
            </a:endParaRP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5A607C75-7E5E-49DD-BFE0-283F617009BA}" type="datetime1">
              <a:rPr lang="de-DE" noProof="0" smtClean="0"/>
              <a:t>08.06.2017</a:t>
            </a:fld>
            <a:endParaRPr lang="de-DE" noProof="0" dirty="0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 noProof="0" dirty="0" smtClean="0"/>
              <a:t>LSC - Live Support Chat</a:t>
            </a:r>
            <a:endParaRPr lang="de-DE" noProof="0" dirty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D7FBF016-173F-4D13-AB5B-81861F2E6151}" type="slidenum">
              <a:rPr lang="de-DE" noProof="0" smtClean="0"/>
              <a:pPr/>
              <a:t>9</a:t>
            </a:fld>
            <a:endParaRPr lang="de-DE" noProof="0" dirty="0"/>
          </a:p>
        </p:txBody>
      </p:sp>
      <p:graphicFrame>
        <p:nvGraphicFramePr>
          <p:cNvPr id="11" name="Inhaltsplatzhalter 10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799580974"/>
              </p:ext>
            </p:extLst>
          </p:nvPr>
        </p:nvGraphicFramePr>
        <p:xfrm>
          <a:off x="179388" y="1008435"/>
          <a:ext cx="5400676" cy="1538868"/>
        </p:xfrm>
        <a:graphic>
          <a:graphicData uri="http://schemas.openxmlformats.org/drawingml/2006/table">
            <a:tbl>
              <a:tblPr firstRow="1" bandRow="1">
                <a:tableStyleId>{7D95DDBC-5C31-40A9-B56D-BDF15E579DC0}</a:tableStyleId>
              </a:tblPr>
              <a:tblGrid>
                <a:gridCol w="1152971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1547367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1350169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1350169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</a:tblGrid>
              <a:tr h="370468">
                <a:tc>
                  <a:txBody>
                    <a:bodyPr/>
                    <a:lstStyle/>
                    <a:p>
                      <a:r>
                        <a:rPr lang="de-DE" dirty="0" smtClean="0"/>
                        <a:t>Vorgang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 smtClean="0"/>
                        <a:t>Mitarbeiter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 smtClean="0"/>
                        <a:t>Zeit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 smtClean="0"/>
                        <a:t>Gesamtkosten</a:t>
                      </a:r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 smtClean="0"/>
                        <a:t>Entwicklung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 smtClean="0"/>
                        <a:t>1x Auszubildender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 smtClean="0"/>
                        <a:t>70h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 smtClean="0"/>
                        <a:t>1.050€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 smtClean="0"/>
                        <a:t>Test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 smtClean="0"/>
                        <a:t>2x Auszubildender</a:t>
                      </a:r>
                    </a:p>
                    <a:p>
                      <a:r>
                        <a:rPr lang="de-DE" dirty="0" smtClean="0"/>
                        <a:t>2x Entwickler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 smtClean="0"/>
                        <a:t>4h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 smtClean="0"/>
                        <a:t>   728€</a:t>
                      </a:r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algn="l" defTabSz="736549" rtl="0" eaLnBrk="1" latinLnBrk="0" hangingPunct="1"/>
                      <a:r>
                        <a:rPr lang="de-DE" sz="1100" kern="120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Gesamt</a:t>
                      </a:r>
                      <a:endParaRPr lang="de-DE" sz="1100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736549" rtl="0" eaLnBrk="1" latinLnBrk="0" hangingPunct="1"/>
                      <a:endParaRPr lang="de-DE" sz="1100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736549" rtl="0" eaLnBrk="1" latinLnBrk="0" hangingPunct="1"/>
                      <a:endParaRPr lang="de-DE" sz="1100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736549" rtl="0" eaLnBrk="1" latinLnBrk="0" hangingPunct="1"/>
                      <a:r>
                        <a:rPr lang="de-DE" sz="1100" kern="120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1.778€</a:t>
                      </a:r>
                      <a:endParaRPr lang="de-DE" sz="1100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168355159"/>
      </p:ext>
    </p:extLst>
  </p:cSld>
  <p:clrMapOvr>
    <a:masterClrMapping/>
  </p:clrMapOvr>
  <p:transition spd="med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6" dur="2000" fill="hold"/>
                                        <p:tgtEl>
                                          <p:spTgt spid="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eGo_Template_D_A5">
  <a:themeElements>
    <a:clrScheme name="Berenberg Bank">
      <a:dk1>
        <a:sysClr val="windowText" lastClr="000000"/>
      </a:dk1>
      <a:lt1>
        <a:sysClr val="window" lastClr="FFFFFF"/>
      </a:lt1>
      <a:dk2>
        <a:srgbClr val="C6562C"/>
      </a:dk2>
      <a:lt2>
        <a:srgbClr val="893B1F"/>
      </a:lt2>
      <a:accent1>
        <a:srgbClr val="576A85"/>
      </a:accent1>
      <a:accent2>
        <a:srgbClr val="778AA7"/>
      </a:accent2>
      <a:accent3>
        <a:srgbClr val="A9B5C7"/>
      </a:accent3>
      <a:accent4>
        <a:srgbClr val="CCD3DE"/>
      </a:accent4>
      <a:accent5>
        <a:srgbClr val="75726F"/>
      </a:accent5>
      <a:accent6>
        <a:srgbClr val="9D9A97"/>
      </a:accent6>
      <a:hlink>
        <a:srgbClr val="75726F"/>
      </a:hlink>
      <a:folHlink>
        <a:srgbClr val="9D9A97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bg1"/>
        </a:solidFill>
        <a:ln w="9525">
          <a:solidFill>
            <a:schemeClr val="tx1"/>
          </a:solidFill>
        </a:ln>
      </a:spPr>
      <a:bodyPr rtlCol="0" anchor="ctr"/>
      <a:lstStyle>
        <a:defPPr algn="ctr">
          <a:defRPr dirty="0" err="1" smtClean="0">
            <a:solidFill>
              <a:sysClr val="windowText" lastClr="000000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defRPr dirty="0" err="1" smtClean="0"/>
        </a:defPPr>
      </a:lstStyle>
    </a:txDef>
  </a:objectDefaults>
  <a:extraClrSchemeLst/>
  <a:custClrLst>
    <a:custClr name="Grau 100%">
      <a:srgbClr val="75726F"/>
    </a:custClr>
    <a:custClr name="Dunkelorange">
      <a:srgbClr val="893B1F"/>
    </a:custClr>
    <a:custClr name="Blau 100%">
      <a:srgbClr val="576A85"/>
    </a:custClr>
    <a:custClr name="Gelb">
      <a:srgbClr val="F8C019"/>
    </a:custClr>
    <a:custClr name="Grün">
      <a:srgbClr val="569175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 name="Grau 80%">
      <a:srgbClr val="9D9A97"/>
    </a:custClr>
    <a:custClr name="Orange 100%">
      <a:srgbClr val="C6562C"/>
    </a:custClr>
    <a:custClr name="Blau 80%">
      <a:srgbClr val="778AA7"/>
    </a:custClr>
    <a:custClr name="Beige">
      <a:srgbClr val="F0E6CD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 name="Grau 60%">
      <a:srgbClr val="BAB7B4"/>
    </a:custClr>
    <a:custClr name="Orange 80%">
      <a:srgbClr val="DE8A6C"/>
    </a:custClr>
    <a:custClr name="Blau 60%">
      <a:srgbClr val="A9B5C7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 name="Grau 40%">
      <a:srgbClr val="DAD9D8"/>
    </a:custClr>
    <a:custClr name="Orange 60%">
      <a:srgbClr val="E7AA95"/>
    </a:custClr>
    <a:custClr name="Blau 40%">
      <a:srgbClr val="CCD3DE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 name="Grau 20%">
      <a:srgbClr val="EDECEB"/>
    </a:custClr>
    <a:custClr name="Orange 40%">
      <a:srgbClr val="F2D2C6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</a:custClrLst>
</a:theme>
</file>

<file path=ppt/theme/theme2.xml><?xml version="1.0" encoding="utf-8"?>
<a:theme xmlns:a="http://schemas.openxmlformats.org/drawingml/2006/main" name="Larissa">
  <a:themeElements>
    <a:clrScheme name="Berenberg Bank">
      <a:dk1>
        <a:sysClr val="windowText" lastClr="000000"/>
      </a:dk1>
      <a:lt1>
        <a:sysClr val="window" lastClr="FFFFFF"/>
      </a:lt1>
      <a:dk2>
        <a:srgbClr val="C6562C"/>
      </a:dk2>
      <a:lt2>
        <a:srgbClr val="893B1F"/>
      </a:lt2>
      <a:accent1>
        <a:srgbClr val="576A85"/>
      </a:accent1>
      <a:accent2>
        <a:srgbClr val="778AA7"/>
      </a:accent2>
      <a:accent3>
        <a:srgbClr val="A9B5C7"/>
      </a:accent3>
      <a:accent4>
        <a:srgbClr val="CCD3DE"/>
      </a:accent4>
      <a:accent5>
        <a:srgbClr val="75726F"/>
      </a:accent5>
      <a:accent6>
        <a:srgbClr val="9D9A97"/>
      </a:accent6>
      <a:hlink>
        <a:srgbClr val="75726F"/>
      </a:hlink>
      <a:folHlink>
        <a:srgbClr val="9D9A97"/>
      </a:folHlink>
    </a:clrScheme>
    <a:fontScheme name="Berenberg Bank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bg1"/>
        </a:solidFill>
        <a:ln w="9525">
          <a:solidFill>
            <a:schemeClr val="tx1"/>
          </a:solidFill>
        </a:ln>
      </a:spPr>
      <a:bodyPr rtlCol="0" anchor="ctr"/>
      <a:lstStyle>
        <a:defPPr algn="ctr">
          <a:defRPr dirty="0" err="1" smtClean="0">
            <a:solidFill>
              <a:sysClr val="windowText" lastClr="000000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3.xml><?xml version="1.0" encoding="utf-8"?>
<a:theme xmlns:a="http://schemas.openxmlformats.org/drawingml/2006/main" name="Larissa">
  <a:themeElements>
    <a:clrScheme name="Berenberg Bank">
      <a:dk1>
        <a:sysClr val="windowText" lastClr="000000"/>
      </a:dk1>
      <a:lt1>
        <a:sysClr val="window" lastClr="FFFFFF"/>
      </a:lt1>
      <a:dk2>
        <a:srgbClr val="C6562C"/>
      </a:dk2>
      <a:lt2>
        <a:srgbClr val="893B1F"/>
      </a:lt2>
      <a:accent1>
        <a:srgbClr val="576A85"/>
      </a:accent1>
      <a:accent2>
        <a:srgbClr val="778AA7"/>
      </a:accent2>
      <a:accent3>
        <a:srgbClr val="A9B5C7"/>
      </a:accent3>
      <a:accent4>
        <a:srgbClr val="CCD3DE"/>
      </a:accent4>
      <a:accent5>
        <a:srgbClr val="75726F"/>
      </a:accent5>
      <a:accent6>
        <a:srgbClr val="9D9A97"/>
      </a:accent6>
      <a:hlink>
        <a:srgbClr val="75726F"/>
      </a:hlink>
      <a:folHlink>
        <a:srgbClr val="9D9A97"/>
      </a:folHlink>
    </a:clrScheme>
    <a:fontScheme name="Berenberg Bank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bg1"/>
        </a:solidFill>
        <a:ln w="9525">
          <a:solidFill>
            <a:schemeClr val="tx1"/>
          </a:solidFill>
        </a:ln>
      </a:spPr>
      <a:bodyPr rtlCol="0" anchor="ctr"/>
      <a:lstStyle>
        <a:defPPr algn="ctr">
          <a:defRPr dirty="0" err="1" smtClean="0">
            <a:solidFill>
              <a:sysClr val="windowText" lastClr="000000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BeGo_Template_D_A5</Template>
  <TotalTime>0</TotalTime>
  <Words>399</Words>
  <Application>Microsoft Office PowerPoint</Application>
  <PresentationFormat>Benutzerdefiniert</PresentationFormat>
  <Paragraphs>251</Paragraphs>
  <Slides>15</Slides>
  <Notes>1</Notes>
  <HiddenSlides>0</HiddenSlides>
  <MMClips>0</MMClips>
  <ScaleCrop>false</ScaleCrop>
  <HeadingPairs>
    <vt:vector size="6" baseType="variant"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5</vt:i4>
      </vt:variant>
    </vt:vector>
  </HeadingPairs>
  <TitlesOfParts>
    <vt:vector size="17" baseType="lpstr">
      <vt:lpstr>BeGo_Template_D_A5</vt:lpstr>
      <vt:lpstr>think-cell Folie</vt:lpstr>
      <vt:lpstr>LSC - Live Support Chat</vt:lpstr>
      <vt:lpstr>Das Unternehmen</vt:lpstr>
      <vt:lpstr>Wir – der interne IT Dienstleister</vt:lpstr>
      <vt:lpstr>Projektbeschreibung</vt:lpstr>
      <vt:lpstr>Projektbeschreibung</vt:lpstr>
      <vt:lpstr>Projektziele</vt:lpstr>
      <vt:lpstr>Anwendungsfalldiagramm</vt:lpstr>
      <vt:lpstr>Projektphasen</vt:lpstr>
      <vt:lpstr>Projektkosten</vt:lpstr>
      <vt:lpstr>Nutzen</vt:lpstr>
      <vt:lpstr>Verwendete Sprachen</vt:lpstr>
      <vt:lpstr>Screenshot</vt:lpstr>
      <vt:lpstr>Sicherheit</vt:lpstr>
      <vt:lpstr>Fazit</vt:lpstr>
      <vt:lpstr>Ende</vt:lpstr>
    </vt:vector>
  </TitlesOfParts>
  <Company>Berenberg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LSC - Live Support Chat</dc:title>
  <dc:subject>[Untertitel der Präsentation]</dc:subject>
  <dc:creator>Grieger, Niklas</dc:creator>
  <dc:description>Optimiert für MS PowerPoint 2010.</dc:description>
  <cp:lastModifiedBy>Grieger, Niklas</cp:lastModifiedBy>
  <cp:revision>112</cp:revision>
  <cp:lastPrinted>2013-03-21T16:05:01Z</cp:lastPrinted>
  <dcterms:created xsi:type="dcterms:W3CDTF">2017-05-11T08:04:29Z</dcterms:created>
  <dcterms:modified xsi:type="dcterms:W3CDTF">2017-06-08T14:54:13Z</dcterms:modified>
</cp:coreProperties>
</file>